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98" r:id="rId2"/>
    <p:sldId id="283" r:id="rId3"/>
    <p:sldId id="297" r:id="rId4"/>
    <p:sldId id="292" r:id="rId5"/>
    <p:sldId id="284" r:id="rId6"/>
    <p:sldId id="285" r:id="rId7"/>
    <p:sldId id="293" r:id="rId8"/>
    <p:sldId id="296" r:id="rId9"/>
    <p:sldId id="331" r:id="rId10"/>
    <p:sldId id="334" r:id="rId11"/>
    <p:sldId id="299" r:id="rId12"/>
    <p:sldId id="330" r:id="rId13"/>
    <p:sldId id="332" r:id="rId14"/>
    <p:sldId id="333" r:id="rId15"/>
    <p:sldId id="257" r:id="rId16"/>
    <p:sldId id="327" r:id="rId17"/>
    <p:sldId id="326" r:id="rId18"/>
    <p:sldId id="324" r:id="rId19"/>
    <p:sldId id="325" r:id="rId20"/>
    <p:sldId id="328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A8A78B-5742-49AF-BDD3-68EC72085B16}" v="22" dt="2023-02-15T12:30:03.101"/>
    <p1510:client id="{BF9BFD19-2B44-9DEA-8575-3BE44DEF77A7}" v="2070" dt="2023-02-15T05:03:09.525"/>
    <p1510:client id="{E97BFF64-3E50-74B0-B525-EBF0C842A847}" v="1792" dt="2023-02-15T02:47:47.280"/>
  </p1510:revLst>
</p1510:revInfo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hitlock, Pamela" userId="S::whitlock@fultonschools.org::8ec78f61-5923-4f97-9dbf-9544100c7c2d" providerId="AD" clId="Web-{E97BFF64-3E50-74B0-B525-EBF0C842A847}"/>
    <pc:docChg chg="addSld delSld modSld sldOrd">
      <pc:chgData name="Whitlock, Pamela" userId="S::whitlock@fultonschools.org::8ec78f61-5923-4f97-9dbf-9544100c7c2d" providerId="AD" clId="Web-{E97BFF64-3E50-74B0-B525-EBF0C842A847}" dt="2023-02-15T02:47:47.280" v="1435"/>
      <pc:docMkLst>
        <pc:docMk/>
      </pc:docMkLst>
      <pc:sldChg chg="addSp delSp modSp">
        <pc:chgData name="Whitlock, Pamela" userId="S::whitlock@fultonschools.org::8ec78f61-5923-4f97-9dbf-9544100c7c2d" providerId="AD" clId="Web-{E97BFF64-3E50-74B0-B525-EBF0C842A847}" dt="2023-02-15T02:47:47.280" v="1435"/>
        <pc:sldMkLst>
          <pc:docMk/>
          <pc:sldMk cId="2174457996" sldId="299"/>
        </pc:sldMkLst>
        <pc:spChg chg="mod">
          <ac:chgData name="Whitlock, Pamela" userId="S::whitlock@fultonschools.org::8ec78f61-5923-4f97-9dbf-9544100c7c2d" providerId="AD" clId="Web-{E97BFF64-3E50-74B0-B525-EBF0C842A847}" dt="2023-02-15T01:39:42.540" v="1410" actId="20577"/>
          <ac:spMkLst>
            <pc:docMk/>
            <pc:sldMk cId="2174457996" sldId="299"/>
            <ac:spMk id="2" creationId="{ED69832A-F829-4687-839B-27AB9AA0D71F}"/>
          </ac:spMkLst>
        </pc:spChg>
        <pc:spChg chg="add del mod">
          <ac:chgData name="Whitlock, Pamela" userId="S::whitlock@fultonschools.org::8ec78f61-5923-4f97-9dbf-9544100c7c2d" providerId="AD" clId="Web-{E97BFF64-3E50-74B0-B525-EBF0C842A847}" dt="2023-02-15T01:04:11.186" v="3"/>
          <ac:spMkLst>
            <pc:docMk/>
            <pc:sldMk cId="2174457996" sldId="299"/>
            <ac:spMk id="3" creationId="{0DC9A4B8-7B31-EC65-9C67-0574354245C5}"/>
          </ac:spMkLst>
        </pc:spChg>
        <pc:spChg chg="add del mod">
          <ac:chgData name="Whitlock, Pamela" userId="S::whitlock@fultonschools.org::8ec78f61-5923-4f97-9dbf-9544100c7c2d" providerId="AD" clId="Web-{E97BFF64-3E50-74B0-B525-EBF0C842A847}" dt="2023-02-15T01:07:26.490" v="33"/>
          <ac:spMkLst>
            <pc:docMk/>
            <pc:sldMk cId="2174457996" sldId="299"/>
            <ac:spMk id="4" creationId="{DB0D677E-98A5-EB9E-5777-758F72543F8D}"/>
          </ac:spMkLst>
        </pc:spChg>
        <pc:spChg chg="add mod">
          <ac:chgData name="Whitlock, Pamela" userId="S::whitlock@fultonschools.org::8ec78f61-5923-4f97-9dbf-9544100c7c2d" providerId="AD" clId="Web-{E97BFF64-3E50-74B0-B525-EBF0C842A847}" dt="2023-02-15T01:38:40.272" v="1388" actId="20577"/>
          <ac:spMkLst>
            <pc:docMk/>
            <pc:sldMk cId="2174457996" sldId="299"/>
            <ac:spMk id="9" creationId="{E7240982-BC14-DDED-1C55-4FF8DE9C1D0C}"/>
          </ac:spMkLst>
        </pc:spChg>
        <pc:graphicFrameChg chg="add mod modGraphic">
          <ac:chgData name="Whitlock, Pamela" userId="S::whitlock@fultonschools.org::8ec78f61-5923-4f97-9dbf-9544100c7c2d" providerId="AD" clId="Web-{E97BFF64-3E50-74B0-B525-EBF0C842A847}" dt="2023-02-15T02:47:47.280" v="1435"/>
          <ac:graphicFrameMkLst>
            <pc:docMk/>
            <pc:sldMk cId="2174457996" sldId="299"/>
            <ac:graphicFrameMk id="5" creationId="{0D9403A4-D38F-7A8D-DB54-F6F39A19539F}"/>
          </ac:graphicFrameMkLst>
        </pc:graphicFrameChg>
      </pc:sldChg>
      <pc:sldChg chg="addSp modSp add ord replId">
        <pc:chgData name="Whitlock, Pamela" userId="S::whitlock@fultonschools.org::8ec78f61-5923-4f97-9dbf-9544100c7c2d" providerId="AD" clId="Web-{E97BFF64-3E50-74B0-B525-EBF0C842A847}" dt="2023-02-15T01:05:50.939" v="11"/>
        <pc:sldMkLst>
          <pc:docMk/>
          <pc:sldMk cId="616989631" sldId="329"/>
        </pc:sldMkLst>
        <pc:spChg chg="add mod">
          <ac:chgData name="Whitlock, Pamela" userId="S::whitlock@fultonschools.org::8ec78f61-5923-4f97-9dbf-9544100c7c2d" providerId="AD" clId="Web-{E97BFF64-3E50-74B0-B525-EBF0C842A847}" dt="2023-02-15T01:05:50.580" v="10" actId="20577"/>
          <ac:spMkLst>
            <pc:docMk/>
            <pc:sldMk cId="616989631" sldId="329"/>
            <ac:spMk id="3" creationId="{C96D6A06-8497-F87F-53D4-191339148C20}"/>
          </ac:spMkLst>
        </pc:spChg>
      </pc:sldChg>
      <pc:sldChg chg="new del">
        <pc:chgData name="Whitlock, Pamela" userId="S::whitlock@fultonschools.org::8ec78f61-5923-4f97-9dbf-9544100c7c2d" providerId="AD" clId="Web-{E97BFF64-3E50-74B0-B525-EBF0C842A847}" dt="2023-02-15T01:04:27.671" v="5"/>
        <pc:sldMkLst>
          <pc:docMk/>
          <pc:sldMk cId="1593034458" sldId="329"/>
        </pc:sldMkLst>
      </pc:sldChg>
      <pc:sldChg chg="addSp delSp modSp add replId">
        <pc:chgData name="Whitlock, Pamela" userId="S::whitlock@fultonschools.org::8ec78f61-5923-4f97-9dbf-9544100c7c2d" providerId="AD" clId="Web-{E97BFF64-3E50-74B0-B525-EBF0C842A847}" dt="2023-02-15T02:47:38.529" v="1425" actId="20577"/>
        <pc:sldMkLst>
          <pc:docMk/>
          <pc:sldMk cId="4142878836" sldId="330"/>
        </pc:sldMkLst>
        <pc:spChg chg="mod">
          <ac:chgData name="Whitlock, Pamela" userId="S::whitlock@fultonschools.org::8ec78f61-5923-4f97-9dbf-9544100c7c2d" providerId="AD" clId="Web-{E97BFF64-3E50-74B0-B525-EBF0C842A847}" dt="2023-02-15T01:40:42.089" v="1415" actId="20577"/>
          <ac:spMkLst>
            <pc:docMk/>
            <pc:sldMk cId="4142878836" sldId="330"/>
            <ac:spMk id="2" creationId="{ED69832A-F829-4687-839B-27AB9AA0D71F}"/>
          </ac:spMkLst>
        </pc:spChg>
        <pc:spChg chg="add mod">
          <ac:chgData name="Whitlock, Pamela" userId="S::whitlock@fultonschools.org::8ec78f61-5923-4f97-9dbf-9544100c7c2d" providerId="AD" clId="Web-{E97BFF64-3E50-74B0-B525-EBF0C842A847}" dt="2023-02-15T02:47:38.529" v="1425" actId="20577"/>
          <ac:spMkLst>
            <pc:docMk/>
            <pc:sldMk cId="4142878836" sldId="330"/>
            <ac:spMk id="3" creationId="{79A30153-010B-AAC7-2B12-04D6A86375B0}"/>
          </ac:spMkLst>
        </pc:spChg>
        <pc:graphicFrameChg chg="del">
          <ac:chgData name="Whitlock, Pamela" userId="S::whitlock@fultonschools.org::8ec78f61-5923-4f97-9dbf-9544100c7c2d" providerId="AD" clId="Web-{E97BFF64-3E50-74B0-B525-EBF0C842A847}" dt="2023-02-15T01:30:48.006" v="1061"/>
          <ac:graphicFrameMkLst>
            <pc:docMk/>
            <pc:sldMk cId="4142878836" sldId="330"/>
            <ac:graphicFrameMk id="5" creationId="{0D9403A4-D38F-7A8D-DB54-F6F39A19539F}"/>
          </ac:graphicFrameMkLst>
        </pc:graphicFrameChg>
      </pc:sldChg>
    </pc:docChg>
  </pc:docChgLst>
  <pc:docChgLst>
    <pc:chgData name="Kent, Scott" userId="1709ebeb-83fe-4c91-a509-0522c94d1667" providerId="ADAL" clId="{70A8A78B-5742-49AF-BDD3-68EC72085B16}"/>
    <pc:docChg chg="undo custSel addSld delSld modSld sldOrd modShowInfo">
      <pc:chgData name="Kent, Scott" userId="1709ebeb-83fe-4c91-a509-0522c94d1667" providerId="ADAL" clId="{70A8A78B-5742-49AF-BDD3-68EC72085B16}" dt="2023-02-15T12:30:15.053" v="970"/>
      <pc:docMkLst>
        <pc:docMk/>
      </pc:docMkLst>
      <pc:sldChg chg="addSp delSp modSp add mod">
        <pc:chgData name="Kent, Scott" userId="1709ebeb-83fe-4c91-a509-0522c94d1667" providerId="ADAL" clId="{70A8A78B-5742-49AF-BDD3-68EC72085B16}" dt="2023-02-15T11:28:56.885" v="765"/>
        <pc:sldMkLst>
          <pc:docMk/>
          <pc:sldMk cId="1642425379" sldId="257"/>
        </pc:sldMkLst>
        <pc:spChg chg="mod">
          <ac:chgData name="Kent, Scott" userId="1709ebeb-83fe-4c91-a509-0522c94d1667" providerId="ADAL" clId="{70A8A78B-5742-49AF-BDD3-68EC72085B16}" dt="2023-02-14T19:10:40.478" v="38" actId="20577"/>
          <ac:spMkLst>
            <pc:docMk/>
            <pc:sldMk cId="1642425379" sldId="257"/>
            <ac:spMk id="2" creationId="{216815C6-3AD0-46E6-A74A-1967BD91AF50}"/>
          </ac:spMkLst>
        </pc:spChg>
        <pc:spChg chg="add del mod">
          <ac:chgData name="Kent, Scott" userId="1709ebeb-83fe-4c91-a509-0522c94d1667" providerId="ADAL" clId="{70A8A78B-5742-49AF-BDD3-68EC72085B16}" dt="2023-02-15T11:28:38.146" v="756"/>
          <ac:spMkLst>
            <pc:docMk/>
            <pc:sldMk cId="1642425379" sldId="257"/>
            <ac:spMk id="6" creationId="{FFF3B106-832F-5556-D634-A7DB39B8DEF4}"/>
          </ac:spMkLst>
        </pc:spChg>
        <pc:spChg chg="add del mod">
          <ac:chgData name="Kent, Scott" userId="1709ebeb-83fe-4c91-a509-0522c94d1667" providerId="ADAL" clId="{70A8A78B-5742-49AF-BDD3-68EC72085B16}" dt="2023-02-15T11:28:56.885" v="765"/>
          <ac:spMkLst>
            <pc:docMk/>
            <pc:sldMk cId="1642425379" sldId="257"/>
            <ac:spMk id="7" creationId="{2045C21A-51AA-7616-3C4A-9E612486F6B4}"/>
          </ac:spMkLst>
        </pc:spChg>
        <pc:spChg chg="mod">
          <ac:chgData name="Kent, Scott" userId="1709ebeb-83fe-4c91-a509-0522c94d1667" providerId="ADAL" clId="{70A8A78B-5742-49AF-BDD3-68EC72085B16}" dt="2023-02-14T19:10:06.691" v="29" actId="27636"/>
          <ac:spMkLst>
            <pc:docMk/>
            <pc:sldMk cId="1642425379" sldId="257"/>
            <ac:spMk id="13" creationId="{4509DD2C-F88D-4C91-9881-7AD0C0BA7DF1}"/>
          </ac:spMkLst>
        </pc:spChg>
        <pc:picChg chg="add del mod">
          <ac:chgData name="Kent, Scott" userId="1709ebeb-83fe-4c91-a509-0522c94d1667" providerId="ADAL" clId="{70A8A78B-5742-49AF-BDD3-68EC72085B16}" dt="2023-02-14T19:10:30.297" v="33"/>
          <ac:picMkLst>
            <pc:docMk/>
            <pc:sldMk cId="1642425379" sldId="257"/>
            <ac:picMk id="3" creationId="{0560D5E0-159D-491E-E628-8793E944EBE5}"/>
          </ac:picMkLst>
        </pc:picChg>
        <pc:picChg chg="add mod ord">
          <ac:chgData name="Kent, Scott" userId="1709ebeb-83fe-4c91-a509-0522c94d1667" providerId="ADAL" clId="{70A8A78B-5742-49AF-BDD3-68EC72085B16}" dt="2023-02-14T19:11:39.702" v="80" actId="171"/>
          <ac:picMkLst>
            <pc:docMk/>
            <pc:sldMk cId="1642425379" sldId="257"/>
            <ac:picMk id="4" creationId="{113C354C-A04C-D12B-0D07-4CFC67DB0DB5}"/>
          </ac:picMkLst>
        </pc:picChg>
        <pc:picChg chg="add del">
          <ac:chgData name="Kent, Scott" userId="1709ebeb-83fe-4c91-a509-0522c94d1667" providerId="ADAL" clId="{70A8A78B-5742-49AF-BDD3-68EC72085B16}" dt="2023-02-14T19:10:35.079" v="35" actId="478"/>
          <ac:picMkLst>
            <pc:docMk/>
            <pc:sldMk cId="1642425379" sldId="257"/>
            <ac:picMk id="1026" creationId="{6F6528A1-95A1-40C7-A50F-B31ACFD1B8B5}"/>
          </ac:picMkLst>
        </pc:picChg>
      </pc:sldChg>
      <pc:sldChg chg="modSp add mod">
        <pc:chgData name="Kent, Scott" userId="1709ebeb-83fe-4c91-a509-0522c94d1667" providerId="ADAL" clId="{70A8A78B-5742-49AF-BDD3-68EC72085B16}" dt="2023-02-15T12:30:03.329" v="955" actId="27636"/>
        <pc:sldMkLst>
          <pc:docMk/>
          <pc:sldMk cId="1329746698" sldId="283"/>
        </pc:sldMkLst>
        <pc:spChg chg="mod">
          <ac:chgData name="Kent, Scott" userId="1709ebeb-83fe-4c91-a509-0522c94d1667" providerId="ADAL" clId="{70A8A78B-5742-49AF-BDD3-68EC72085B16}" dt="2023-02-15T12:30:03.314" v="954" actId="27636"/>
          <ac:spMkLst>
            <pc:docMk/>
            <pc:sldMk cId="1329746698" sldId="283"/>
            <ac:spMk id="2" creationId="{3560F281-4FF6-4617-A809-AC9C15ECF18A}"/>
          </ac:spMkLst>
        </pc:spChg>
        <pc:spChg chg="mod">
          <ac:chgData name="Kent, Scott" userId="1709ebeb-83fe-4c91-a509-0522c94d1667" providerId="ADAL" clId="{70A8A78B-5742-49AF-BDD3-68EC72085B16}" dt="2023-02-15T12:30:03.329" v="955" actId="27636"/>
          <ac:spMkLst>
            <pc:docMk/>
            <pc:sldMk cId="1329746698" sldId="283"/>
            <ac:spMk id="4" creationId="{D355C61F-C8F1-4977-8E1F-F16C0D9EA88C}"/>
          </ac:spMkLst>
        </pc:spChg>
      </pc:sldChg>
      <pc:sldChg chg="modSp add mod">
        <pc:chgData name="Kent, Scott" userId="1709ebeb-83fe-4c91-a509-0522c94d1667" providerId="ADAL" clId="{70A8A78B-5742-49AF-BDD3-68EC72085B16}" dt="2023-02-15T12:30:03.442" v="963" actId="27636"/>
        <pc:sldMkLst>
          <pc:docMk/>
          <pc:sldMk cId="3188837873" sldId="284"/>
        </pc:sldMkLst>
        <pc:spChg chg="mod">
          <ac:chgData name="Kent, Scott" userId="1709ebeb-83fe-4c91-a509-0522c94d1667" providerId="ADAL" clId="{70A8A78B-5742-49AF-BDD3-68EC72085B16}" dt="2023-02-15T12:30:03.426" v="962" actId="27636"/>
          <ac:spMkLst>
            <pc:docMk/>
            <pc:sldMk cId="3188837873" sldId="284"/>
            <ac:spMk id="2" creationId="{19304E83-A4F0-49C5-BB01-F5773509A2B3}"/>
          </ac:spMkLst>
        </pc:spChg>
        <pc:spChg chg="mod">
          <ac:chgData name="Kent, Scott" userId="1709ebeb-83fe-4c91-a509-0522c94d1667" providerId="ADAL" clId="{70A8A78B-5742-49AF-BDD3-68EC72085B16}" dt="2023-02-15T12:30:03.368" v="959" actId="27636"/>
          <ac:spMkLst>
            <pc:docMk/>
            <pc:sldMk cId="3188837873" sldId="284"/>
            <ac:spMk id="3" creationId="{7CA42D59-EAD6-4F95-84F1-32A30F057856}"/>
          </ac:spMkLst>
        </pc:spChg>
        <pc:spChg chg="mod">
          <ac:chgData name="Kent, Scott" userId="1709ebeb-83fe-4c91-a509-0522c94d1667" providerId="ADAL" clId="{70A8A78B-5742-49AF-BDD3-68EC72085B16}" dt="2023-02-15T12:30:03.373" v="960" actId="27636"/>
          <ac:spMkLst>
            <pc:docMk/>
            <pc:sldMk cId="3188837873" sldId="284"/>
            <ac:spMk id="4" creationId="{6AB259A0-0017-492F-A0DC-4B70C7052AE0}"/>
          </ac:spMkLst>
        </pc:spChg>
        <pc:spChg chg="mod">
          <ac:chgData name="Kent, Scott" userId="1709ebeb-83fe-4c91-a509-0522c94d1667" providerId="ADAL" clId="{70A8A78B-5742-49AF-BDD3-68EC72085B16}" dt="2023-02-15T12:30:03.442" v="963" actId="27636"/>
          <ac:spMkLst>
            <pc:docMk/>
            <pc:sldMk cId="3188837873" sldId="284"/>
            <ac:spMk id="5" creationId="{CEEB3BAE-C0B2-447C-B8BE-96C6BD84D658}"/>
          </ac:spMkLst>
        </pc:spChg>
        <pc:spChg chg="mod">
          <ac:chgData name="Kent, Scott" userId="1709ebeb-83fe-4c91-a509-0522c94d1667" providerId="ADAL" clId="{70A8A78B-5742-49AF-BDD3-68EC72085B16}" dt="2023-02-15T12:30:03.364" v="958" actId="27636"/>
          <ac:spMkLst>
            <pc:docMk/>
            <pc:sldMk cId="3188837873" sldId="284"/>
            <ac:spMk id="6" creationId="{B237D1CA-B91A-410E-A968-D017BBE99F99}"/>
          </ac:spMkLst>
        </pc:spChg>
        <pc:spChg chg="mod">
          <ac:chgData name="Kent, Scott" userId="1709ebeb-83fe-4c91-a509-0522c94d1667" providerId="ADAL" clId="{70A8A78B-5742-49AF-BDD3-68EC72085B16}" dt="2023-02-15T12:30:03.423" v="961" actId="27636"/>
          <ac:spMkLst>
            <pc:docMk/>
            <pc:sldMk cId="3188837873" sldId="284"/>
            <ac:spMk id="7" creationId="{26A87885-D672-4CF9-A78D-CFE98385B03A}"/>
          </ac:spMkLst>
        </pc:spChg>
      </pc:sldChg>
      <pc:sldChg chg="modSp add mod">
        <pc:chgData name="Kent, Scott" userId="1709ebeb-83fe-4c91-a509-0522c94d1667" providerId="ADAL" clId="{70A8A78B-5742-49AF-BDD3-68EC72085B16}" dt="2023-02-15T12:30:03.574" v="964" actId="27636"/>
        <pc:sldMkLst>
          <pc:docMk/>
          <pc:sldMk cId="665219316" sldId="285"/>
        </pc:sldMkLst>
        <pc:spChg chg="mod">
          <ac:chgData name="Kent, Scott" userId="1709ebeb-83fe-4c91-a509-0522c94d1667" providerId="ADAL" clId="{70A8A78B-5742-49AF-BDD3-68EC72085B16}" dt="2023-02-15T12:30:03.574" v="964" actId="27636"/>
          <ac:spMkLst>
            <pc:docMk/>
            <pc:sldMk cId="665219316" sldId="285"/>
            <ac:spMk id="4" creationId="{3B86E961-B76E-423F-995E-11B31E921437}"/>
          </ac:spMkLst>
        </pc:spChg>
      </pc:sldChg>
      <pc:sldChg chg="add">
        <pc:chgData name="Kent, Scott" userId="1709ebeb-83fe-4c91-a509-0522c94d1667" providerId="ADAL" clId="{70A8A78B-5742-49AF-BDD3-68EC72085B16}" dt="2023-02-15T12:30:03.077" v="953"/>
        <pc:sldMkLst>
          <pc:docMk/>
          <pc:sldMk cId="4091674644" sldId="292"/>
        </pc:sldMkLst>
      </pc:sldChg>
      <pc:sldChg chg="add setBg">
        <pc:chgData name="Kent, Scott" userId="1709ebeb-83fe-4c91-a509-0522c94d1667" providerId="ADAL" clId="{70A8A78B-5742-49AF-BDD3-68EC72085B16}" dt="2023-02-15T12:30:03.077" v="953"/>
        <pc:sldMkLst>
          <pc:docMk/>
          <pc:sldMk cId="2117695413" sldId="293"/>
        </pc:sldMkLst>
      </pc:sldChg>
      <pc:sldChg chg="modSp add mod">
        <pc:chgData name="Kent, Scott" userId="1709ebeb-83fe-4c91-a509-0522c94d1667" providerId="ADAL" clId="{70A8A78B-5742-49AF-BDD3-68EC72085B16}" dt="2023-02-15T12:30:03.613" v="968" actId="27636"/>
        <pc:sldMkLst>
          <pc:docMk/>
          <pc:sldMk cId="4153678306" sldId="296"/>
        </pc:sldMkLst>
        <pc:spChg chg="mod">
          <ac:chgData name="Kent, Scott" userId="1709ebeb-83fe-4c91-a509-0522c94d1667" providerId="ADAL" clId="{70A8A78B-5742-49AF-BDD3-68EC72085B16}" dt="2023-02-15T12:30:03.613" v="968" actId="27636"/>
          <ac:spMkLst>
            <pc:docMk/>
            <pc:sldMk cId="4153678306" sldId="296"/>
            <ac:spMk id="4" creationId="{60828E04-9C2A-4859-8050-C2DF67A249CB}"/>
          </ac:spMkLst>
        </pc:spChg>
        <pc:spChg chg="mod">
          <ac:chgData name="Kent, Scott" userId="1709ebeb-83fe-4c91-a509-0522c94d1667" providerId="ADAL" clId="{70A8A78B-5742-49AF-BDD3-68EC72085B16}" dt="2023-02-15T12:30:03.591" v="965" actId="27636"/>
          <ac:spMkLst>
            <pc:docMk/>
            <pc:sldMk cId="4153678306" sldId="296"/>
            <ac:spMk id="5" creationId="{11265965-2271-4C1C-BD0A-6F85F80FF9A6}"/>
          </ac:spMkLst>
        </pc:spChg>
        <pc:spChg chg="mod">
          <ac:chgData name="Kent, Scott" userId="1709ebeb-83fe-4c91-a509-0522c94d1667" providerId="ADAL" clId="{70A8A78B-5742-49AF-BDD3-68EC72085B16}" dt="2023-02-15T12:30:03.597" v="966" actId="27636"/>
          <ac:spMkLst>
            <pc:docMk/>
            <pc:sldMk cId="4153678306" sldId="296"/>
            <ac:spMk id="6" creationId="{50A3BCC3-A277-4C0B-9EBA-EB53990D8EBD}"/>
          </ac:spMkLst>
        </pc:spChg>
        <pc:spChg chg="mod">
          <ac:chgData name="Kent, Scott" userId="1709ebeb-83fe-4c91-a509-0522c94d1667" providerId="ADAL" clId="{70A8A78B-5742-49AF-BDD3-68EC72085B16}" dt="2023-02-15T12:30:03.608" v="967" actId="27636"/>
          <ac:spMkLst>
            <pc:docMk/>
            <pc:sldMk cId="4153678306" sldId="296"/>
            <ac:spMk id="16" creationId="{FD8A1232-50A8-4535-AAF9-7F4180EAA0DD}"/>
          </ac:spMkLst>
        </pc:spChg>
      </pc:sldChg>
      <pc:sldChg chg="modSp add mod">
        <pc:chgData name="Kent, Scott" userId="1709ebeb-83fe-4c91-a509-0522c94d1667" providerId="ADAL" clId="{70A8A78B-5742-49AF-BDD3-68EC72085B16}" dt="2023-02-15T12:30:03.348" v="957" actId="27636"/>
        <pc:sldMkLst>
          <pc:docMk/>
          <pc:sldMk cId="722098795" sldId="297"/>
        </pc:sldMkLst>
        <pc:spChg chg="mod">
          <ac:chgData name="Kent, Scott" userId="1709ebeb-83fe-4c91-a509-0522c94d1667" providerId="ADAL" clId="{70A8A78B-5742-49AF-BDD3-68EC72085B16}" dt="2023-02-15T12:30:03.348" v="957" actId="27636"/>
          <ac:spMkLst>
            <pc:docMk/>
            <pc:sldMk cId="722098795" sldId="297"/>
            <ac:spMk id="3" creationId="{611DC577-0A95-47D0-95D9-5F8DA763D46B}"/>
          </ac:spMkLst>
        </pc:spChg>
        <pc:spChg chg="mod">
          <ac:chgData name="Kent, Scott" userId="1709ebeb-83fe-4c91-a509-0522c94d1667" providerId="ADAL" clId="{70A8A78B-5742-49AF-BDD3-68EC72085B16}" dt="2023-02-15T12:30:03.342" v="956" actId="27636"/>
          <ac:spMkLst>
            <pc:docMk/>
            <pc:sldMk cId="722098795" sldId="297"/>
            <ac:spMk id="4" creationId="{D355C61F-C8F1-4977-8E1F-F16C0D9EA88C}"/>
          </ac:spMkLst>
        </pc:spChg>
      </pc:sldChg>
      <pc:sldChg chg="addSp del mod">
        <pc:chgData name="Kent, Scott" userId="1709ebeb-83fe-4c91-a509-0522c94d1667" providerId="ADAL" clId="{70A8A78B-5742-49AF-BDD3-68EC72085B16}" dt="2023-02-15T12:29:46.381" v="951" actId="47"/>
        <pc:sldMkLst>
          <pc:docMk/>
          <pc:sldMk cId="2135241178" sldId="298"/>
        </pc:sldMkLst>
        <pc:picChg chg="add">
          <ac:chgData name="Kent, Scott" userId="1709ebeb-83fe-4c91-a509-0522c94d1667" providerId="ADAL" clId="{70A8A78B-5742-49AF-BDD3-68EC72085B16}" dt="2023-02-15T12:29:42.730" v="950" actId="22"/>
          <ac:picMkLst>
            <pc:docMk/>
            <pc:sldMk cId="2135241178" sldId="298"/>
            <ac:picMk id="4" creationId="{59048653-CDCE-AEEE-FC84-99290154DD5A}"/>
          </ac:picMkLst>
        </pc:picChg>
      </pc:sldChg>
      <pc:sldChg chg="add">
        <pc:chgData name="Kent, Scott" userId="1709ebeb-83fe-4c91-a509-0522c94d1667" providerId="ADAL" clId="{70A8A78B-5742-49AF-BDD3-68EC72085B16}" dt="2023-02-15T12:30:03.077" v="953"/>
        <pc:sldMkLst>
          <pc:docMk/>
          <pc:sldMk cId="3989923275" sldId="298"/>
        </pc:sldMkLst>
      </pc:sldChg>
      <pc:sldChg chg="modSp mod">
        <pc:chgData name="Kent, Scott" userId="1709ebeb-83fe-4c91-a509-0522c94d1667" providerId="ADAL" clId="{70A8A78B-5742-49AF-BDD3-68EC72085B16}" dt="2023-02-14T19:09:32.038" v="27" actId="122"/>
        <pc:sldMkLst>
          <pc:docMk/>
          <pc:sldMk cId="2174457996" sldId="299"/>
        </pc:sldMkLst>
        <pc:spChg chg="mod">
          <ac:chgData name="Kent, Scott" userId="1709ebeb-83fe-4c91-a509-0522c94d1667" providerId="ADAL" clId="{70A8A78B-5742-49AF-BDD3-68EC72085B16}" dt="2023-02-14T19:09:32.038" v="27" actId="122"/>
          <ac:spMkLst>
            <pc:docMk/>
            <pc:sldMk cId="2174457996" sldId="299"/>
            <ac:spMk id="2" creationId="{ED69832A-F829-4687-839B-27AB9AA0D71F}"/>
          </ac:spMkLst>
        </pc:spChg>
        <pc:picChg chg="mod ord">
          <ac:chgData name="Kent, Scott" userId="1709ebeb-83fe-4c91-a509-0522c94d1667" providerId="ADAL" clId="{70A8A78B-5742-49AF-BDD3-68EC72085B16}" dt="2023-02-14T19:08:37.941" v="1" actId="34135"/>
          <ac:picMkLst>
            <pc:docMk/>
            <pc:sldMk cId="2174457996" sldId="299"/>
            <ac:picMk id="10" creationId="{18A5AF76-DFAD-387F-8268-008AA569CD07}"/>
          </ac:picMkLst>
        </pc:picChg>
      </pc:sldChg>
      <pc:sldChg chg="addSp modSp add mod">
        <pc:chgData name="Kent, Scott" userId="1709ebeb-83fe-4c91-a509-0522c94d1667" providerId="ADAL" clId="{70A8A78B-5742-49AF-BDD3-68EC72085B16}" dt="2023-02-14T19:11:59.683" v="84" actId="167"/>
        <pc:sldMkLst>
          <pc:docMk/>
          <pc:sldMk cId="2165737698" sldId="324"/>
        </pc:sldMkLst>
        <pc:picChg chg="add mod ord">
          <ac:chgData name="Kent, Scott" userId="1709ebeb-83fe-4c91-a509-0522c94d1667" providerId="ADAL" clId="{70A8A78B-5742-49AF-BDD3-68EC72085B16}" dt="2023-02-14T19:11:59.683" v="84" actId="167"/>
          <ac:picMkLst>
            <pc:docMk/>
            <pc:sldMk cId="2165737698" sldId="324"/>
            <ac:picMk id="3" creationId="{27F2C357-09DD-F41C-AC20-A6B6BB8DFEA2}"/>
          </ac:picMkLst>
        </pc:picChg>
      </pc:sldChg>
      <pc:sldChg chg="addSp modSp add mod">
        <pc:chgData name="Kent, Scott" userId="1709ebeb-83fe-4c91-a509-0522c94d1667" providerId="ADAL" clId="{70A8A78B-5742-49AF-BDD3-68EC72085B16}" dt="2023-02-15T11:31:09.802" v="861" actId="20577"/>
        <pc:sldMkLst>
          <pc:docMk/>
          <pc:sldMk cId="1041541643" sldId="325"/>
        </pc:sldMkLst>
        <pc:spChg chg="mod">
          <ac:chgData name="Kent, Scott" userId="1709ebeb-83fe-4c91-a509-0522c94d1667" providerId="ADAL" clId="{70A8A78B-5742-49AF-BDD3-68EC72085B16}" dt="2023-02-15T11:31:09.802" v="861" actId="20577"/>
          <ac:spMkLst>
            <pc:docMk/>
            <pc:sldMk cId="1041541643" sldId="325"/>
            <ac:spMk id="17" creationId="{6D8EAE63-6B49-CCC4-9E64-F2E939D8F1DE}"/>
          </ac:spMkLst>
        </pc:spChg>
        <pc:picChg chg="add mod ord">
          <ac:chgData name="Kent, Scott" userId="1709ebeb-83fe-4c91-a509-0522c94d1667" providerId="ADAL" clId="{70A8A78B-5742-49AF-BDD3-68EC72085B16}" dt="2023-02-14T19:12:16.178" v="86" actId="1076"/>
          <ac:picMkLst>
            <pc:docMk/>
            <pc:sldMk cId="1041541643" sldId="325"/>
            <ac:picMk id="3" creationId="{28CE25B3-23DA-4300-FF4D-E5E5FEAF04CD}"/>
          </ac:picMkLst>
        </pc:picChg>
      </pc:sldChg>
      <pc:sldChg chg="addSp modSp add mod">
        <pc:chgData name="Kent, Scott" userId="1709ebeb-83fe-4c91-a509-0522c94d1667" providerId="ADAL" clId="{70A8A78B-5742-49AF-BDD3-68EC72085B16}" dt="2023-02-14T19:11:56.071" v="83" actId="167"/>
        <pc:sldMkLst>
          <pc:docMk/>
          <pc:sldMk cId="2876266196" sldId="326"/>
        </pc:sldMkLst>
        <pc:picChg chg="add mod ord">
          <ac:chgData name="Kent, Scott" userId="1709ebeb-83fe-4c91-a509-0522c94d1667" providerId="ADAL" clId="{70A8A78B-5742-49AF-BDD3-68EC72085B16}" dt="2023-02-14T19:11:56.071" v="83" actId="167"/>
          <ac:picMkLst>
            <pc:docMk/>
            <pc:sldMk cId="2876266196" sldId="326"/>
            <ac:picMk id="3" creationId="{90AEC60C-6290-4BC2-5945-95AE38D6E766}"/>
          </ac:picMkLst>
        </pc:picChg>
      </pc:sldChg>
      <pc:sldChg chg="addSp delSp modSp add mod">
        <pc:chgData name="Kent, Scott" userId="1709ebeb-83fe-4c91-a509-0522c94d1667" providerId="ADAL" clId="{70A8A78B-5742-49AF-BDD3-68EC72085B16}" dt="2023-02-15T11:29:14.047" v="767"/>
        <pc:sldMkLst>
          <pc:docMk/>
          <pc:sldMk cId="689930545" sldId="327"/>
        </pc:sldMkLst>
        <pc:spChg chg="add del mod">
          <ac:chgData name="Kent, Scott" userId="1709ebeb-83fe-4c91-a509-0522c94d1667" providerId="ADAL" clId="{70A8A78B-5742-49AF-BDD3-68EC72085B16}" dt="2023-02-15T11:29:14.047" v="767"/>
          <ac:spMkLst>
            <pc:docMk/>
            <pc:sldMk cId="689930545" sldId="327"/>
            <ac:spMk id="4" creationId="{52E48A5C-7964-5F07-A1E0-EFC939ECC646}"/>
          </ac:spMkLst>
        </pc:spChg>
        <pc:picChg chg="add mod ord">
          <ac:chgData name="Kent, Scott" userId="1709ebeb-83fe-4c91-a509-0522c94d1667" providerId="ADAL" clId="{70A8A78B-5742-49AF-BDD3-68EC72085B16}" dt="2023-02-14T19:11:52.164" v="82" actId="167"/>
          <ac:picMkLst>
            <pc:docMk/>
            <pc:sldMk cId="689930545" sldId="327"/>
            <ac:picMk id="3" creationId="{C3F1676A-48FD-FF55-D46D-822217AF0410}"/>
          </ac:picMkLst>
        </pc:picChg>
      </pc:sldChg>
      <pc:sldChg chg="addSp modSp new mod">
        <pc:chgData name="Kent, Scott" userId="1709ebeb-83fe-4c91-a509-0522c94d1667" providerId="ADAL" clId="{70A8A78B-5742-49AF-BDD3-68EC72085B16}" dt="2023-02-15T11:36:09.169" v="948" actId="6549"/>
        <pc:sldMkLst>
          <pc:docMk/>
          <pc:sldMk cId="2121771573" sldId="328"/>
        </pc:sldMkLst>
        <pc:spChg chg="add mod">
          <ac:chgData name="Kent, Scott" userId="1709ebeb-83fe-4c91-a509-0522c94d1667" providerId="ADAL" clId="{70A8A78B-5742-49AF-BDD3-68EC72085B16}" dt="2023-02-14T19:38:14.567" v="753" actId="14100"/>
          <ac:spMkLst>
            <pc:docMk/>
            <pc:sldMk cId="2121771573" sldId="328"/>
            <ac:spMk id="2" creationId="{16B1538A-239A-A688-4223-E4CBD1BCB234}"/>
          </ac:spMkLst>
        </pc:spChg>
        <pc:spChg chg="add mod">
          <ac:chgData name="Kent, Scott" userId="1709ebeb-83fe-4c91-a509-0522c94d1667" providerId="ADAL" clId="{70A8A78B-5742-49AF-BDD3-68EC72085B16}" dt="2023-02-15T11:36:09.169" v="948" actId="6549"/>
          <ac:spMkLst>
            <pc:docMk/>
            <pc:sldMk cId="2121771573" sldId="328"/>
            <ac:spMk id="3" creationId="{3FCF4121-7844-F19B-EEA2-AE25E3D45CA8}"/>
          </ac:spMkLst>
        </pc:spChg>
        <pc:spChg chg="add mod">
          <ac:chgData name="Kent, Scott" userId="1709ebeb-83fe-4c91-a509-0522c94d1667" providerId="ADAL" clId="{70A8A78B-5742-49AF-BDD3-68EC72085B16}" dt="2023-02-14T19:37:04.234" v="748" actId="1076"/>
          <ac:spMkLst>
            <pc:docMk/>
            <pc:sldMk cId="2121771573" sldId="328"/>
            <ac:spMk id="5" creationId="{95682699-88B5-CABE-DC38-6133E36C5AA4}"/>
          </ac:spMkLst>
        </pc:spChg>
        <pc:spChg chg="add mod">
          <ac:chgData name="Kent, Scott" userId="1709ebeb-83fe-4c91-a509-0522c94d1667" providerId="ADAL" clId="{70A8A78B-5742-49AF-BDD3-68EC72085B16}" dt="2023-02-14T19:37:18.075" v="751" actId="1076"/>
          <ac:spMkLst>
            <pc:docMk/>
            <pc:sldMk cId="2121771573" sldId="328"/>
            <ac:spMk id="6" creationId="{C7BCF34E-B49C-0D49-AF0E-8E22754847C3}"/>
          </ac:spMkLst>
        </pc:spChg>
        <pc:picChg chg="add mod ord">
          <ac:chgData name="Kent, Scott" userId="1709ebeb-83fe-4c91-a509-0522c94d1667" providerId="ADAL" clId="{70A8A78B-5742-49AF-BDD3-68EC72085B16}" dt="2023-02-14T19:38:25.658" v="754" actId="34135"/>
          <ac:picMkLst>
            <pc:docMk/>
            <pc:sldMk cId="2121771573" sldId="328"/>
            <ac:picMk id="4" creationId="{7D5F4A5B-B180-947B-3D1E-ACE2D5CFA21A}"/>
          </ac:picMkLst>
        </pc:picChg>
      </pc:sldChg>
      <pc:sldChg chg="del">
        <pc:chgData name="Kent, Scott" userId="1709ebeb-83fe-4c91-a509-0522c94d1667" providerId="ADAL" clId="{70A8A78B-5742-49AF-BDD3-68EC72085B16}" dt="2023-02-15T12:30:00.127" v="952" actId="47"/>
        <pc:sldMkLst>
          <pc:docMk/>
          <pc:sldMk cId="616989631" sldId="329"/>
        </pc:sldMkLst>
      </pc:sldChg>
      <pc:sldChg chg="ord">
        <pc:chgData name="Kent, Scott" userId="1709ebeb-83fe-4c91-a509-0522c94d1667" providerId="ADAL" clId="{70A8A78B-5742-49AF-BDD3-68EC72085B16}" dt="2023-02-15T12:30:15.053" v="970"/>
        <pc:sldMkLst>
          <pc:docMk/>
          <pc:sldMk cId="2874759700" sldId="331"/>
        </pc:sldMkLst>
      </pc:sldChg>
    </pc:docChg>
  </pc:docChgLst>
  <pc:docChgLst>
    <pc:chgData name="Browning, Agnes" userId="S::browningaa@fultonschools.org::9b7b3a22-c7e2-42ee-9d03-e610d0376383" providerId="AD" clId="Web-{BF9BFD19-2B44-9DEA-8575-3BE44DEF77A7}"/>
    <pc:docChg chg="addSld modSld sldOrd">
      <pc:chgData name="Browning, Agnes" userId="S::browningaa@fultonschools.org::9b7b3a22-c7e2-42ee-9d03-e610d0376383" providerId="AD" clId="Web-{BF9BFD19-2B44-9DEA-8575-3BE44DEF77A7}" dt="2023-02-15T05:03:08.181" v="1145" actId="20577"/>
      <pc:docMkLst>
        <pc:docMk/>
      </pc:docMkLst>
      <pc:sldChg chg="addSp delSp modSp add ord replId">
        <pc:chgData name="Browning, Agnes" userId="S::browningaa@fultonschools.org::9b7b3a22-c7e2-42ee-9d03-e610d0376383" providerId="AD" clId="Web-{BF9BFD19-2B44-9DEA-8575-3BE44DEF77A7}" dt="2023-02-15T05:03:08.181" v="1145" actId="20577"/>
        <pc:sldMkLst>
          <pc:docMk/>
          <pc:sldMk cId="2874759700" sldId="331"/>
        </pc:sldMkLst>
        <pc:spChg chg="mod">
          <ac:chgData name="Browning, Agnes" userId="S::browningaa@fultonschools.org::9b7b3a22-c7e2-42ee-9d03-e610d0376383" providerId="AD" clId="Web-{BF9BFD19-2B44-9DEA-8575-3BE44DEF77A7}" dt="2023-02-15T05:03:08.181" v="1145" actId="20577"/>
          <ac:spMkLst>
            <pc:docMk/>
            <pc:sldMk cId="2874759700" sldId="331"/>
            <ac:spMk id="2" creationId="{ED69832A-F829-4687-839B-27AB9AA0D71F}"/>
          </ac:spMkLst>
        </pc:spChg>
        <pc:spChg chg="mod">
          <ac:chgData name="Browning, Agnes" userId="S::browningaa@fultonschools.org::9b7b3a22-c7e2-42ee-9d03-e610d0376383" providerId="AD" clId="Web-{BF9BFD19-2B44-9DEA-8575-3BE44DEF77A7}" dt="2023-02-15T04:27:51.376" v="1130" actId="20577"/>
          <ac:spMkLst>
            <pc:docMk/>
            <pc:sldMk cId="2874759700" sldId="331"/>
            <ac:spMk id="3" creationId="{79A30153-010B-AAC7-2B12-04D6A86375B0}"/>
          </ac:spMkLst>
        </pc:spChg>
        <pc:graphicFrameChg chg="add del modGraphic">
          <ac:chgData name="Browning, Agnes" userId="S::browningaa@fultonschools.org::9b7b3a22-c7e2-42ee-9d03-e610d0376383" providerId="AD" clId="Web-{BF9BFD19-2B44-9DEA-8575-3BE44DEF77A7}" dt="2023-02-15T04:28:59.316" v="1136"/>
          <ac:graphicFrameMkLst>
            <pc:docMk/>
            <pc:sldMk cId="2874759700" sldId="331"/>
            <ac:graphicFrameMk id="5" creationId="{CA506CC8-AB33-57F3-8992-C351D82E3915}"/>
          </ac:graphicFrameMkLst>
        </pc:graphicFrameChg>
        <pc:graphicFrameChg chg="add del mod modGraphic">
          <ac:chgData name="Browning, Agnes" userId="S::browningaa@fultonschools.org::9b7b3a22-c7e2-42ee-9d03-e610d0376383" providerId="AD" clId="Web-{BF9BFD19-2B44-9DEA-8575-3BE44DEF77A7}" dt="2023-02-15T04:51:20.335" v="1142"/>
          <ac:graphicFrameMkLst>
            <pc:docMk/>
            <pc:sldMk cId="2874759700" sldId="331"/>
            <ac:graphicFrameMk id="11" creationId="{C2326E09-9565-43F7-FB0E-9432F9B70445}"/>
          </ac:graphicFrameMkLst>
        </pc:graphicFrameChg>
        <pc:graphicFrameChg chg="add mod">
          <ac:chgData name="Browning, Agnes" userId="S::browningaa@fultonschools.org::9b7b3a22-c7e2-42ee-9d03-e610d0376383" providerId="AD" clId="Web-{BF9BFD19-2B44-9DEA-8575-3BE44DEF77A7}" dt="2023-02-15T05:01:59.742" v="1143"/>
          <ac:graphicFrameMkLst>
            <pc:docMk/>
            <pc:sldMk cId="2874759700" sldId="331"/>
            <ac:graphicFrameMk id="13" creationId="{AA9A9EDD-35C2-5B22-1DA6-93EDCBF17089}"/>
          </ac:graphicFrameMkLst>
        </pc:graphicFrameChg>
        <pc:picChg chg="add del mod">
          <ac:chgData name="Browning, Agnes" userId="S::browningaa@fultonschools.org::9b7b3a22-c7e2-42ee-9d03-e610d0376383" providerId="AD" clId="Web-{BF9BFD19-2B44-9DEA-8575-3BE44DEF77A7}" dt="2023-02-15T04:27:51.939" v="1131"/>
          <ac:picMkLst>
            <pc:docMk/>
            <pc:sldMk cId="2874759700" sldId="331"/>
            <ac:picMk id="4" creationId="{80523D1D-26B1-E683-12F0-FC263CEA0FAC}"/>
          </ac:picMkLst>
        </pc:picChg>
      </pc:sldChg>
      <pc:sldChg chg="modSp add replId">
        <pc:chgData name="Browning, Agnes" userId="S::browningaa@fultonschools.org::9b7b3a22-c7e2-42ee-9d03-e610d0376383" providerId="AD" clId="Web-{BF9BFD19-2B44-9DEA-8575-3BE44DEF77A7}" dt="2023-02-15T04:10:55.897" v="818" actId="20577"/>
        <pc:sldMkLst>
          <pc:docMk/>
          <pc:sldMk cId="3060193957" sldId="332"/>
        </pc:sldMkLst>
        <pc:spChg chg="mod">
          <ac:chgData name="Browning, Agnes" userId="S::browningaa@fultonschools.org::9b7b3a22-c7e2-42ee-9d03-e610d0376383" providerId="AD" clId="Web-{BF9BFD19-2B44-9DEA-8575-3BE44DEF77A7}" dt="2023-02-15T04:10:55.897" v="818" actId="20577"/>
          <ac:spMkLst>
            <pc:docMk/>
            <pc:sldMk cId="3060193957" sldId="332"/>
            <ac:spMk id="3" creationId="{79A30153-010B-AAC7-2B12-04D6A86375B0}"/>
          </ac:spMkLst>
        </pc:spChg>
      </pc:sldChg>
      <pc:sldChg chg="modSp add replId">
        <pc:chgData name="Browning, Agnes" userId="S::browningaa@fultonschools.org::9b7b3a22-c7e2-42ee-9d03-e610d0376383" providerId="AD" clId="Web-{BF9BFD19-2B44-9DEA-8575-3BE44DEF77A7}" dt="2023-02-15T04:27:33.032" v="1125" actId="20577"/>
        <pc:sldMkLst>
          <pc:docMk/>
          <pc:sldMk cId="3897018979" sldId="333"/>
        </pc:sldMkLst>
        <pc:spChg chg="mod">
          <ac:chgData name="Browning, Agnes" userId="S::browningaa@fultonschools.org::9b7b3a22-c7e2-42ee-9d03-e610d0376383" providerId="AD" clId="Web-{BF9BFD19-2B44-9DEA-8575-3BE44DEF77A7}" dt="2023-02-15T04:27:33.032" v="1125" actId="20577"/>
          <ac:spMkLst>
            <pc:docMk/>
            <pc:sldMk cId="3897018979" sldId="333"/>
            <ac:spMk id="2" creationId="{ED69832A-F829-4687-839B-27AB9AA0D71F}"/>
          </ac:spMkLst>
        </pc:spChg>
        <pc:spChg chg="mod">
          <ac:chgData name="Browning, Agnes" userId="S::browningaa@fultonschools.org::9b7b3a22-c7e2-42ee-9d03-e610d0376383" providerId="AD" clId="Web-{BF9BFD19-2B44-9DEA-8575-3BE44DEF77A7}" dt="2023-02-15T04:27:09.031" v="1122" actId="20577"/>
          <ac:spMkLst>
            <pc:docMk/>
            <pc:sldMk cId="3897018979" sldId="333"/>
            <ac:spMk id="3" creationId="{79A30153-010B-AAC7-2B12-04D6A86375B0}"/>
          </ac:spMkLst>
        </pc:spChg>
      </pc:sldChg>
      <pc:sldChg chg="add replId">
        <pc:chgData name="Browning, Agnes" userId="S::browningaa@fultonschools.org::9b7b3a22-c7e2-42ee-9d03-e610d0376383" providerId="AD" clId="Web-{BF9BFD19-2B44-9DEA-8575-3BE44DEF77A7}" dt="2023-02-15T04:27:40.501" v="1126"/>
        <pc:sldMkLst>
          <pc:docMk/>
          <pc:sldMk cId="4284976146" sldId="334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6E3BFE-F074-E544-8154-53DACD8308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80B71B-E818-0F42-679F-C23F251B7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DF50C-2A17-A8A2-7235-42258B6CDE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BCAACB-49F4-DE5D-538D-E0C49FDCF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97792-A484-6C93-E617-0E6034368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582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8E981B-8847-1427-64A3-B72DB870C8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586B1FC-006A-710D-DABB-6B54DE69DC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BD57B3-9E3F-C0BA-0A34-645C7EA85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6D24F1-DBB7-64B4-CB4C-EBAD1C3EC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D271CC-7643-3DBE-77F8-FD4314E5B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180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03BFE41-F787-1506-A4F5-8B7C4B921FC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7575400-4780-5985-FC47-E728581878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549962-876E-440F-94B4-BB7AF36969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BAFDE3-3622-C4C4-B1BE-57F854F2DA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DF1F14-35DB-7799-FE21-A5FFD9AB7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880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mart 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martArt Placeholder 6">
            <a:extLst>
              <a:ext uri="{FF2B5EF4-FFF2-40B4-BE49-F238E27FC236}">
                <a16:creationId xmlns:a16="http://schemas.microsoft.com/office/drawing/2014/main" id="{156CA116-0F6E-4EE9-B34F-03BA07161A7A}"/>
              </a:ext>
            </a:extLst>
          </p:cNvPr>
          <p:cNvSpPr>
            <a:spLocks noGrp="1"/>
          </p:cNvSpPr>
          <p:nvPr>
            <p:ph type="dgm" sz="quarter" idx="15"/>
          </p:nvPr>
        </p:nvSpPr>
        <p:spPr>
          <a:xfrm>
            <a:off x="838200" y="2139084"/>
            <a:ext cx="10515600" cy="3695338"/>
          </a:xfrm>
        </p:spPr>
        <p:txBody>
          <a:bodyPr/>
          <a:lstStyle/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E085D26-FA83-4414-959E-98936A772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r>
              <a:rPr lang="en-US" dirty="0"/>
              <a:t>2022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6988B2D-0240-4256-8268-4B9FF1E72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0" y="0"/>
            <a:ext cx="2590800" cy="76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8EEAAE1-3D04-41C3-B2D2-B3BEF34C3B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>
            <a:off x="0" y="0"/>
            <a:ext cx="704850" cy="10279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467230-4A0F-4B18-8BA9-C3B2FDD59C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B5CEABB6-07DC-46E8-9B57-56EC44A396E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5817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with Imag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780588" cy="6804025"/>
          </a:xfrm>
          <a:solidFill>
            <a:schemeClr val="bg1">
              <a:lumMod val="85000"/>
            </a:schemeClr>
          </a:solidFill>
        </p:spPr>
        <p:txBody>
          <a:bodyPr tIns="1728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00400" y="2811053"/>
            <a:ext cx="8991600" cy="1261295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Click to edit 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00400" y="4061039"/>
            <a:ext cx="6580188" cy="580921"/>
          </a:xfrm>
          <a:solidFill>
            <a:schemeClr val="tx1">
              <a:alpha val="80000"/>
            </a:schemeClr>
          </a:solidFill>
        </p:spPr>
        <p:txBody>
          <a:bodyPr vert="horz" lIns="180000" tIns="180000" rIns="180000" bIns="180000" rtlCol="0">
            <a:noAutofit/>
          </a:bodyPr>
          <a:lstStyle>
            <a:lvl1pPr marL="0" indent="0" algn="r">
              <a:buNone/>
              <a:defRPr lang="en-ZA" dirty="0">
                <a:solidFill>
                  <a:schemeClr val="bg1"/>
                </a:solidFill>
              </a:defRPr>
            </a:lvl1pPr>
          </a:lstStyle>
          <a:p>
            <a:pPr marL="266700" lvl="0" indent="-266700" algn="ctr"/>
            <a:r>
              <a:rPr lang="en-US" noProof="0"/>
              <a:t>Click to edit Master subtitle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0FBB1B-4F0E-4365-BF27-3150FC6C3B90}"/>
              </a:ext>
            </a:extLst>
          </p:cNvPr>
          <p:cNvSpPr/>
          <p:nvPr userDrawn="1"/>
        </p:nvSpPr>
        <p:spPr>
          <a:xfrm>
            <a:off x="9780103" y="6803351"/>
            <a:ext cx="1979897" cy="5465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13D8A8-6C3D-4527-959D-41C3213F7F02}"/>
              </a:ext>
            </a:extLst>
          </p:cNvPr>
          <p:cNvSpPr/>
          <p:nvPr userDrawn="1"/>
        </p:nvSpPr>
        <p:spPr>
          <a:xfrm>
            <a:off x="0" y="6803351"/>
            <a:ext cx="9780104" cy="54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9780588" y="2698612"/>
            <a:ext cx="2411412" cy="1148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003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1800" y="3802899"/>
            <a:ext cx="4648200" cy="985000"/>
          </a:xfrm>
          <a:solidFill>
            <a:schemeClr val="bg1"/>
          </a:solidFill>
        </p:spPr>
        <p:txBody>
          <a:bodyPr lIns="180000" tIns="180000" rIns="180000" bIns="180000"/>
          <a:lstStyle>
            <a:lvl1pPr algn="r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11800" y="4787900"/>
            <a:ext cx="4648200" cy="1162800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32000" y="2668686"/>
            <a:ext cx="5472000" cy="2999426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08F53F-6AA2-4060-904A-BC90211DC043}"/>
              </a:ext>
            </a:extLst>
          </p:cNvPr>
          <p:cNvSpPr/>
          <p:nvPr userDrawn="1"/>
        </p:nvSpPr>
        <p:spPr>
          <a:xfrm>
            <a:off x="9348588" y="3700775"/>
            <a:ext cx="2411412" cy="1148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92729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Imag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6096000" cy="6371351"/>
          </a:xfrm>
          <a:solidFill>
            <a:schemeClr val="bg1">
              <a:lumMod val="95000"/>
            </a:schemeClr>
          </a:solidFill>
        </p:spPr>
        <p:txBody>
          <a:bodyPr tIns="1584000" anchor="t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100" y="1869795"/>
            <a:ext cx="6641900" cy="1124345"/>
          </a:xfrm>
          <a:solidFill>
            <a:schemeClr val="bg1">
              <a:lumMod val="95000"/>
            </a:schemeClr>
          </a:solidFill>
        </p:spPr>
        <p:txBody>
          <a:bodyPr lIns="180000" tIns="180000" rIns="180000" bIns="180000"/>
          <a:lstStyle>
            <a:lvl1pPr algn="l"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118334" y="2994141"/>
            <a:ext cx="6641626" cy="590155"/>
          </a:xfrm>
          <a:solidFill>
            <a:schemeClr val="tx1">
              <a:alpha val="80000"/>
            </a:schemeClr>
          </a:solidFill>
        </p:spPr>
        <p:txBody>
          <a:bodyPr lIns="180000" tIns="180000" rIns="180000" bIns="180000"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8000" y="3763648"/>
            <a:ext cx="5472000" cy="2428351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05ED12-A431-4761-87A4-F05164BE022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A5285E0-8F27-49C4-AADF-92A3B72D41FD}"/>
              </a:ext>
            </a:extLst>
          </p:cNvPr>
          <p:cNvSpPr/>
          <p:nvPr userDrawn="1"/>
        </p:nvSpPr>
        <p:spPr>
          <a:xfrm>
            <a:off x="9775824" y="1762069"/>
            <a:ext cx="1984175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718243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780588" cy="637135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</a:t>
            </a:r>
            <a:br>
              <a:rPr lang="en-US" noProof="0" dirty="0"/>
            </a:br>
            <a:r>
              <a:rPr lang="en-US" noProof="0" dirty="0"/>
              <a:t>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5700" y="2204792"/>
            <a:ext cx="5956300" cy="1944000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Click to edit section divid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E4D4535-D519-40ED-B8A4-2EA1276BB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5700" y="4148860"/>
            <a:ext cx="5956300" cy="1100565"/>
          </a:xfrm>
          <a:solidFill>
            <a:schemeClr val="tx1">
              <a:alpha val="80000"/>
            </a:schemeClr>
          </a:solidFill>
        </p:spPr>
        <p:txBody>
          <a:bodyPr lIns="180000" tIns="180000" rIns="252000" bIns="180000"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6FE98-6A12-44EC-8485-8B5EFABDF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9780588" y="5247782"/>
            <a:ext cx="2411412" cy="1148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0FBB1B-4F0E-4365-BF27-3150FC6C3B90}"/>
              </a:ext>
            </a:extLst>
          </p:cNvPr>
          <p:cNvSpPr/>
          <p:nvPr userDrawn="1"/>
        </p:nvSpPr>
        <p:spPr>
          <a:xfrm>
            <a:off x="9780103" y="6803351"/>
            <a:ext cx="1979897" cy="5465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13D8A8-6C3D-4527-959D-41C3213F7F02}"/>
              </a:ext>
            </a:extLst>
          </p:cNvPr>
          <p:cNvSpPr/>
          <p:nvPr userDrawn="1"/>
        </p:nvSpPr>
        <p:spPr>
          <a:xfrm>
            <a:off x="0" y="6803351"/>
            <a:ext cx="9780104" cy="54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0EF489-F21B-4E7C-9A44-D3CC8DC3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296779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340000" cy="43200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noProof="0"/>
              <a:t>Click to edit page tit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E4633398-8EC3-417B-BEA6-101D8F22467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31800" y="1008000"/>
            <a:ext cx="11339513" cy="360000"/>
          </a:xfrm>
        </p:spPr>
        <p:txBody>
          <a:bodyPr/>
          <a:lstStyle>
            <a:lvl1pPr marL="0" indent="0">
              <a:buNone/>
              <a:defRPr/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3" name="Comparison Left Placeholder 1">
            <a:extLst>
              <a:ext uri="{FF2B5EF4-FFF2-40B4-BE49-F238E27FC236}">
                <a16:creationId xmlns:a16="http://schemas.microsoft.com/office/drawing/2014/main" id="{9322B50D-6A7D-41C6-BA57-613BC231DF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2307689"/>
            <a:ext cx="5472000" cy="3600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FD584DA-F775-47B8-A1D7-6556AD5FCB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2815037"/>
            <a:ext cx="5472000" cy="3376963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mparison Left Placeholder 2">
            <a:extLst>
              <a:ext uri="{FF2B5EF4-FFF2-40B4-BE49-F238E27FC236}">
                <a16:creationId xmlns:a16="http://schemas.microsoft.com/office/drawing/2014/main" id="{78A963F8-6F6E-440E-B3B3-DDE13C083A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00000" y="2308214"/>
            <a:ext cx="5472000" cy="358775"/>
          </a:xfrm>
        </p:spPr>
        <p:txBody>
          <a:bodyPr/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DF0A5256-B267-47DA-858A-0F3867CB61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99887" y="2812214"/>
            <a:ext cx="5472113" cy="337903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733E7E-50D2-4F6C-9DF2-CF4C98C4B8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" name="Rectangle 9" descr="Accent block left">
            <a:extLst>
              <a:ext uri="{FF2B5EF4-FFF2-40B4-BE49-F238E27FC236}">
                <a16:creationId xmlns:a16="http://schemas.microsoft.com/office/drawing/2014/main" id="{BBC0CAF5-0DE6-4BEA-824E-124A54A76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31800" y="2100317"/>
            <a:ext cx="1984175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1" name="Rectangle 10" descr="Accent bar right&#10;">
            <a:extLst>
              <a:ext uri="{FF2B5EF4-FFF2-40B4-BE49-F238E27FC236}">
                <a16:creationId xmlns:a16="http://schemas.microsoft.com/office/drawing/2014/main" id="{ED008080-B2F5-441A-8B15-30AE86BBF9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299887" y="2100317"/>
            <a:ext cx="1984175" cy="11482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12095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2000" cy="6371350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&amp; Drop your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0" y="5359400"/>
            <a:ext cx="5664000" cy="565899"/>
          </a:xfrm>
          <a:solidFill>
            <a:schemeClr val="tx1"/>
          </a:solidFill>
        </p:spPr>
        <p:txBody>
          <a:bodyPr lIns="180000" tIns="180000" rIns="180000" bIns="180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noProof="0"/>
              <a:t>Enter your cap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3D119C-DBF5-4B4F-BE38-7BD7B5C8A5D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F8E7C83-06D7-4C5B-85B7-0E5713B4F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83983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er Slide 2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411412" y="0"/>
            <a:ext cx="9780588" cy="6371351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</a:t>
            </a:r>
            <a:br>
              <a:rPr lang="en-US" noProof="0" dirty="0"/>
            </a:br>
            <a:r>
              <a:rPr lang="en-US" noProof="0" dirty="0"/>
              <a:t>your Photo He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E473AB13-DFF9-4538-9907-E261659E0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700" y="2156226"/>
            <a:ext cx="5958000" cy="1958400"/>
          </a:xfrm>
          <a:solidFill>
            <a:schemeClr val="bg1"/>
          </a:solidFill>
        </p:spPr>
        <p:txBody>
          <a:bodyPr lIns="252000" tIns="180000" rIns="180000" bIns="180000"/>
          <a:lstStyle>
            <a:lvl1pPr>
              <a:defRPr sz="6000" b="1" spc="-3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n-US" noProof="0"/>
              <a:t>Click to edit section divider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E4D4535-D519-40ED-B8A4-2EA1276BB6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4110760"/>
            <a:ext cx="5956300" cy="1100565"/>
          </a:xfrm>
          <a:solidFill>
            <a:schemeClr val="tx1">
              <a:alpha val="80000"/>
            </a:schemeClr>
          </a:solidFill>
        </p:spPr>
        <p:txBody>
          <a:bodyPr lIns="252000" tIns="180000" rIns="180000" bIns="180000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266700" indent="0" algn="r">
              <a:buNone/>
              <a:defRPr sz="1800">
                <a:solidFill>
                  <a:schemeClr val="bg1"/>
                </a:solidFill>
              </a:defRPr>
            </a:lvl2pPr>
            <a:lvl3pPr marL="542925" indent="0" algn="r">
              <a:buNone/>
              <a:defRPr sz="1800">
                <a:solidFill>
                  <a:schemeClr val="bg1"/>
                </a:solidFill>
              </a:defRPr>
            </a:lvl3pPr>
            <a:lvl4pPr marL="809625" indent="0" algn="r">
              <a:buNone/>
              <a:defRPr sz="1800">
                <a:solidFill>
                  <a:schemeClr val="bg1"/>
                </a:solidFill>
              </a:defRPr>
            </a:lvl4pPr>
            <a:lvl5pPr marL="1076325" indent="0" algn="r"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6FE98-6A12-44EC-8485-8B5EFABDF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/>
              <a:t>Add a foot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0" y="5209682"/>
            <a:ext cx="2411412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0FBB1B-4F0E-4365-BF27-3150FC6C3B90}"/>
              </a:ext>
            </a:extLst>
          </p:cNvPr>
          <p:cNvSpPr/>
          <p:nvPr userDrawn="1"/>
        </p:nvSpPr>
        <p:spPr>
          <a:xfrm>
            <a:off x="9780103" y="6803351"/>
            <a:ext cx="1979897" cy="5465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13D8A8-6C3D-4527-959D-41C3213F7F02}"/>
              </a:ext>
            </a:extLst>
          </p:cNvPr>
          <p:cNvSpPr/>
          <p:nvPr userDrawn="1"/>
        </p:nvSpPr>
        <p:spPr>
          <a:xfrm>
            <a:off x="0" y="6803351"/>
            <a:ext cx="9780104" cy="54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0EF489-F21B-4E7C-9A44-D3CC8DC34F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03086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922CD6-8E19-2AF2-E840-9ED37115D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28E9E2-ABFB-5D72-4958-B3ABE9B372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9AA88C-1C71-7411-D8A3-1F8B7C4B6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702E68-BF35-1E2B-95EC-5D0CEEEF10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F99BA4-757F-9FB7-9785-6ECE760E8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901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EB7F0EE8-BE52-4A79-8FC8-4A2487FA01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780102" cy="6804025"/>
          </a:xfrm>
          <a:solidFill>
            <a:schemeClr val="bg1">
              <a:lumMod val="85000"/>
            </a:schemeClr>
          </a:solidFill>
        </p:spPr>
        <p:txBody>
          <a:bodyPr tIns="0" anchor="ctr"/>
          <a:lstStyle>
            <a:lvl1pPr marL="0" indent="0" algn="ctr">
              <a:buNone/>
              <a:defRPr sz="12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noProof="0" dirty="0"/>
              <a:t>Insert or Drag and Drop your Phot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58200" y="2798354"/>
            <a:ext cx="3733800" cy="1013684"/>
          </a:xfrm>
          <a:solidFill>
            <a:schemeClr val="bg1"/>
          </a:solidFill>
        </p:spPr>
        <p:txBody>
          <a:bodyPr vert="horz" lIns="180000" tIns="180000" rIns="252000" bIns="180000" rtlCol="0" anchor="t">
            <a:noAutofit/>
          </a:bodyPr>
          <a:lstStyle>
            <a:lvl1pPr algn="r">
              <a:defRPr lang="en-ZA" sz="6000" b="1" spc="-300" dirty="0"/>
            </a:lvl1pPr>
          </a:lstStyle>
          <a:p>
            <a:pPr lvl="0" algn="r"/>
            <a:r>
              <a:rPr lang="en-US" noProof="0"/>
              <a:t>Thank You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52FA7FC9-E40E-4144-84E4-34E3722E9A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58200" y="3957705"/>
            <a:ext cx="2910342" cy="316800"/>
          </a:xfrm>
          <a:solidFill>
            <a:schemeClr val="tx1">
              <a:lumMod val="75000"/>
              <a:lumOff val="25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Full 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7289182-4FE6-4A18-9775-4588D5801C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58200" y="4306722"/>
            <a:ext cx="2910342" cy="316800"/>
          </a:xfrm>
          <a:solidFill>
            <a:schemeClr val="tx1">
              <a:lumMod val="75000"/>
              <a:lumOff val="25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Phone Numb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D4E94C7-6CAF-4FEE-9E02-D3D3A2AC5E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58200" y="4655739"/>
            <a:ext cx="2910342" cy="316800"/>
          </a:xfrm>
          <a:solidFill>
            <a:schemeClr val="tx1">
              <a:lumMod val="75000"/>
              <a:lumOff val="25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Email or Social Media Hand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DE421A3-3C59-48FC-BC3B-007ADFBEB4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58200" y="5004756"/>
            <a:ext cx="2910342" cy="316800"/>
          </a:xfrm>
          <a:solidFill>
            <a:schemeClr val="tx1">
              <a:lumMod val="75000"/>
              <a:lumOff val="25000"/>
            </a:schemeClr>
          </a:solidFill>
        </p:spPr>
        <p:txBody>
          <a:bodyPr rIns="72000" anchor="ctr"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42925" indent="0">
              <a:buNone/>
              <a:defRPr/>
            </a:lvl3pPr>
            <a:lvl4pPr marL="809625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noProof="0"/>
              <a:t>Company Websi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04A767-1C0B-484E-BF7D-CD42D30A52EE}"/>
              </a:ext>
            </a:extLst>
          </p:cNvPr>
          <p:cNvSpPr/>
          <p:nvPr userDrawn="1"/>
        </p:nvSpPr>
        <p:spPr>
          <a:xfrm>
            <a:off x="11760000" y="6803351"/>
            <a:ext cx="432000" cy="546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13D8A8-6C3D-4527-959D-41C3213F7F02}"/>
              </a:ext>
            </a:extLst>
          </p:cNvPr>
          <p:cNvSpPr/>
          <p:nvPr userDrawn="1"/>
        </p:nvSpPr>
        <p:spPr>
          <a:xfrm>
            <a:off x="0" y="6803351"/>
            <a:ext cx="9780104" cy="54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C0FBB1B-4F0E-4365-BF27-3150FC6C3B90}"/>
              </a:ext>
            </a:extLst>
          </p:cNvPr>
          <p:cNvSpPr/>
          <p:nvPr userDrawn="1"/>
        </p:nvSpPr>
        <p:spPr>
          <a:xfrm>
            <a:off x="9780103" y="6803351"/>
            <a:ext cx="1979897" cy="5465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DD44D8-4A8F-4693-B90A-166855B29D25}"/>
              </a:ext>
            </a:extLst>
          </p:cNvPr>
          <p:cNvSpPr/>
          <p:nvPr userDrawn="1"/>
        </p:nvSpPr>
        <p:spPr>
          <a:xfrm>
            <a:off x="8458200" y="2685912"/>
            <a:ext cx="3733800" cy="1148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22FB6A7-1E80-487C-93E6-DCAA8751EF2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19B51A1E-902D-48AF-9020-955120F399B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06925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AB07D8-B7BF-AA48-C7A3-B32ECD06D3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2D1115-E5D7-E92E-7FC5-B254FE0827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D8CAD6-D16F-57D1-7D21-E82F2A2657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D9B075-B21A-FBC3-380E-28BA9BB48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CA289C-8BFC-1959-3B12-A07DB7593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10986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C412F4-A4D0-E594-7F15-1CE3D0A42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5134FF-5147-CFB7-1033-FD1A12B325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77DB7F-53A7-148D-072A-797EBA9079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0AE95F-05A3-C680-EDEE-C52DB4156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DDEDA5F-4FD7-58C8-60D8-3A0B5C170B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0F9FA7-25C4-AD3D-D3C6-FF5333917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55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B74E9-9E3C-5C15-59E3-342B2F32AF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7B6132-7B46-B818-BED4-D8BA56889F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CA8E60-E34F-45F6-ECD9-164AB95DAE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F38E6FD-277F-42B5-1546-876AD27519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7C048CB-B45D-8D3F-0F04-552B1CB846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0CD18AD-3486-CDB7-93FE-A07293FA5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E86F880-BAD6-4FFD-398A-34E815EBDF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8D068F-CD29-A4D6-5B05-67D8C9CAC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693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58FCE5-FF93-BB87-BC5A-97E54BB67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239351D-02A9-5A5F-AD3F-2BD85A442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603AC6-987B-9C4A-2B5D-EE706A34E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6EAB7-380B-7B3F-EDC1-40CA45F18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0751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54A27E-658C-73AB-632F-554E7A3EA1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FD66AC-557E-A094-140C-D0F621ACA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D6E723-56ED-0CA0-5ABC-FF092691C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712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37D0B-E213-7ED7-694D-351237B4F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C538A5-D59D-F192-C073-151AD22179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F2871E-2CD1-C018-7070-9583B87686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17ABF09-B2AB-926A-475E-243829CA6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E2E831-11D3-DF97-3CB1-2625CD8FF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451449-C35F-E185-D4B0-94CA3B3EC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52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BF1D6-EB6E-831D-C1AE-0F46086090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29E040-3B8E-DA38-4E64-D63FE3DBE6A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2DE6C5-0432-6CCD-7969-F7BF9C1C8EF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31E0FA-A1DF-8EF9-A00F-1BA8C28678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7966B2-F51B-ACC6-61DD-41FCBC730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AA4851-F538-12E4-0E60-4D47AE0BDF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541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268ACC4-8EA4-9342-6B55-6FBAA438DE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DF8607-CB51-CBDB-C319-FA6F803C70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90734-CF8F-BBC2-2C3E-B677AA72AEB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269B71-D720-45B7-A738-00A0AD6DC526}" type="datetimeFigureOut">
              <a:rPr lang="en-US" smtClean="0"/>
              <a:t>2/15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6AAE45-6C2C-9F37-F355-DE86E0BE78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64A870-A403-ED8C-CB8F-4C4F322749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15302F-FD3B-4C30-8A5D-C5D763666D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01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mailto:president@iaptso.org" TargetMode="Externa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form.jotform.com/230298178183160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Hands coming together in circle">
            <a:extLst>
              <a:ext uri="{FF2B5EF4-FFF2-40B4-BE49-F238E27FC236}">
                <a16:creationId xmlns:a16="http://schemas.microsoft.com/office/drawing/2014/main" id="{AA8A1CBA-9BB5-2246-9F4B-98EAD7C9015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0400" y="2811053"/>
            <a:ext cx="8991600" cy="1261295"/>
          </a:xfrm>
        </p:spPr>
        <p:txBody>
          <a:bodyPr/>
          <a:lstStyle/>
          <a:p>
            <a:r>
              <a:rPr lang="en-US" dirty="0"/>
              <a:t>Q3 Community  Coffee Chat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00400" y="4061039"/>
            <a:ext cx="6580188" cy="580921"/>
          </a:xfrm>
        </p:spPr>
        <p:txBody>
          <a:bodyPr/>
          <a:lstStyle/>
          <a:p>
            <a:r>
              <a:rPr lang="en-US" dirty="0"/>
              <a:t>Hosted by Innovation Academy PTSO, Inc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DC8F70E-20E7-6334-9456-EDCC44737D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66555" y="5777212"/>
            <a:ext cx="1825445" cy="102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923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latin typeface="+mn-lt"/>
              </a:rPr>
              <a:t>Spring Testing: ACT Exam 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9A30153-010B-AAC7-2B12-04D6A86375B0}"/>
              </a:ext>
            </a:extLst>
          </p:cNvPr>
          <p:cNvSpPr txBox="1"/>
          <p:nvPr/>
        </p:nvSpPr>
        <p:spPr>
          <a:xfrm>
            <a:off x="1125279" y="1674627"/>
            <a:ext cx="9879418" cy="45243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+mn-lt"/>
                <a:cs typeface="+mn-lt"/>
              </a:rPr>
              <a:t>Like the SAT, the ACT demonstrates college readiness. One is not easier than the other. Both are widely accepted by colleges and serve as an indicator of a student's critical thinking and analytical skills.</a:t>
            </a:r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ACT is for Juniors </a:t>
            </a:r>
            <a:r>
              <a:rPr lang="en-US" b="1" dirty="0">
                <a:ea typeface="Calibri"/>
                <a:cs typeface="Calibri"/>
              </a:rPr>
              <a:t>only </a:t>
            </a:r>
            <a:r>
              <a:rPr lang="en-US" dirty="0">
                <a:ea typeface="Calibri"/>
                <a:cs typeface="Calibri"/>
              </a:rPr>
              <a:t>on 03/07 8:40am-12:15pm. 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No fee required. 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Exam is optional, but must indicate participation with QR code (Beacon, Teams)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Regular schedule for Freshmen, Sophomores, and Juniors who won't test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Students must have an FCS device to take the ACT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No make-up exam. </a:t>
            </a:r>
          </a:p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pic>
        <p:nvPicPr>
          <p:cNvPr id="4" name="Picture 4" descr="Qr code&#10;&#10;Description automatically generated">
            <a:extLst>
              <a:ext uri="{FF2B5EF4-FFF2-40B4-BE49-F238E27FC236}">
                <a16:creationId xmlns:a16="http://schemas.microsoft.com/office/drawing/2014/main" id="{80523D1D-26B1-E683-12F0-FC263CEA0F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83561" y="3581401"/>
            <a:ext cx="2472813" cy="247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9761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latin typeface="+mn-lt"/>
              </a:rPr>
              <a:t>Spring Testing:  CTAE End of Pathway Exams</a:t>
            </a:r>
            <a:endParaRPr lang="en-US" dirty="0">
              <a:latin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5" name="Table 8">
            <a:extLst>
              <a:ext uri="{FF2B5EF4-FFF2-40B4-BE49-F238E27FC236}">
                <a16:creationId xmlns:a16="http://schemas.microsoft.com/office/drawing/2014/main" id="{0D9403A4-D38F-7A8D-DB54-F6F39A1953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645058"/>
              </p:ext>
            </p:extLst>
          </p:nvPr>
        </p:nvGraphicFramePr>
        <p:xfrm>
          <a:off x="425302" y="1913860"/>
          <a:ext cx="10901104" cy="36728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62764">
                  <a:extLst>
                    <a:ext uri="{9D8B030D-6E8A-4147-A177-3AD203B41FA5}">
                      <a16:colId xmlns:a16="http://schemas.microsoft.com/office/drawing/2014/main" val="3326535807"/>
                    </a:ext>
                  </a:extLst>
                </a:gridCol>
                <a:gridCol w="1474805">
                  <a:extLst>
                    <a:ext uri="{9D8B030D-6E8A-4147-A177-3AD203B41FA5}">
                      <a16:colId xmlns:a16="http://schemas.microsoft.com/office/drawing/2014/main" val="783094467"/>
                    </a:ext>
                  </a:extLst>
                </a:gridCol>
                <a:gridCol w="2600888">
                  <a:extLst>
                    <a:ext uri="{9D8B030D-6E8A-4147-A177-3AD203B41FA5}">
                      <a16:colId xmlns:a16="http://schemas.microsoft.com/office/drawing/2014/main" val="1574655056"/>
                    </a:ext>
                  </a:extLst>
                </a:gridCol>
                <a:gridCol w="3319856">
                  <a:extLst>
                    <a:ext uri="{9D8B030D-6E8A-4147-A177-3AD203B41FA5}">
                      <a16:colId xmlns:a16="http://schemas.microsoft.com/office/drawing/2014/main" val="591507001"/>
                    </a:ext>
                  </a:extLst>
                </a:gridCol>
                <a:gridCol w="2242791">
                  <a:extLst>
                    <a:ext uri="{9D8B030D-6E8A-4147-A177-3AD203B41FA5}">
                      <a16:colId xmlns:a16="http://schemas.microsoft.com/office/drawing/2014/main" val="42737680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TI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COUR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NO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522505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1/23   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noProof="0">
                          <a:latin typeface="Calibri"/>
                        </a:rPr>
                        <a:t>9:00 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Surgical Technolo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National Health Assessment (Precision Exam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90 minu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72477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1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1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Engineering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ngineering Technology (SkillsUSA Workforce Read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60 minu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326227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2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9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APCS 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Computer Science (NOCTI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3 ho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55950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2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1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EM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Therapeutic Services – EMR (NREM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2 ho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2441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3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9:00 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Game Desig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Unity ex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90 minu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74809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/>
                        <a:t>4/13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1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Patient Care Fundament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800" b="0" i="0" u="none" strike="noStrike" noProof="0">
                          <a:latin typeface="Calibri"/>
                        </a:rPr>
                        <a:t>Patient Care CPCT (NHA)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/>
                        <a:t>2 ho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237879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7240982-BC14-DDED-1C55-4FF8DE9C1D0C}"/>
              </a:ext>
            </a:extLst>
          </p:cNvPr>
          <p:cNvSpPr txBox="1"/>
          <p:nvPr/>
        </p:nvSpPr>
        <p:spPr>
          <a:xfrm>
            <a:off x="611372" y="5830185"/>
            <a:ext cx="1068572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ea typeface="Calibri"/>
                <a:cs typeface="Calibri"/>
              </a:rPr>
              <a:t>Students should bring their school issued laptop fully charg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44579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latin typeface="+mn-lt"/>
              </a:rPr>
              <a:t>Spring Testing:  CTAE End of Pathway Exam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9A30153-010B-AAC7-2B12-04D6A86375B0}"/>
              </a:ext>
            </a:extLst>
          </p:cNvPr>
          <p:cNvSpPr txBox="1"/>
          <p:nvPr/>
        </p:nvSpPr>
        <p:spPr>
          <a:xfrm>
            <a:off x="1125279" y="1674627"/>
            <a:ext cx="9879418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End of Pathway exam score does NOT affect student's grade in Infinite Campus or on their transcript.</a:t>
            </a:r>
          </a:p>
          <a:p>
            <a:endParaRPr lang="en-US" dirty="0">
              <a:ea typeface="Calibri"/>
              <a:cs typeface="Calibri"/>
            </a:endParaRPr>
          </a:p>
          <a:p>
            <a:r>
              <a:rPr lang="en-US" dirty="0">
                <a:ea typeface="Calibri"/>
                <a:cs typeface="Calibri"/>
              </a:rPr>
              <a:t>A "Pathway Completer" is a student who successfully passes all three courses in their specific pathway.  Pathway completers will receive: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Pathway completion certificat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Pathway completion diploma seal</a:t>
            </a:r>
          </a:p>
          <a:p>
            <a:endParaRPr lang="en-US" dirty="0">
              <a:ea typeface="Calibri"/>
              <a:cs typeface="Calibri"/>
            </a:endParaRPr>
          </a:p>
          <a:p>
            <a:r>
              <a:rPr lang="en-US" dirty="0">
                <a:ea typeface="Calibri"/>
                <a:cs typeface="Calibri"/>
              </a:rPr>
              <a:t>Students who </a:t>
            </a:r>
            <a:r>
              <a:rPr lang="en-US" b="1" dirty="0">
                <a:ea typeface="Calibri"/>
                <a:cs typeface="Calibri"/>
              </a:rPr>
              <a:t>also</a:t>
            </a:r>
            <a:r>
              <a:rPr lang="en-US" dirty="0">
                <a:ea typeface="Calibri"/>
                <a:cs typeface="Calibri"/>
              </a:rPr>
              <a:t> pass the End of Pathway exam will receive an industry certification from that testing agency.  These students will receive: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Pathway completion certificat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Pathway completion diploma seal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Industry certificate</a:t>
            </a:r>
          </a:p>
          <a:p>
            <a:pPr marL="742950" lvl="1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Red CTAE graduation cord</a:t>
            </a:r>
          </a:p>
          <a:p>
            <a:endParaRPr lang="en-US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428788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latin typeface="+mn-lt"/>
              </a:rPr>
              <a:t>Spring Testing: End Of Course Exam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9A30153-010B-AAC7-2B12-04D6A86375B0}"/>
              </a:ext>
            </a:extLst>
          </p:cNvPr>
          <p:cNvSpPr txBox="1"/>
          <p:nvPr/>
        </p:nvSpPr>
        <p:spPr>
          <a:xfrm>
            <a:off x="1125279" y="1674627"/>
            <a:ext cx="9879418" cy="480131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EOCs are part of the Georgia Milestones Assessment System and </a:t>
            </a:r>
            <a:r>
              <a:rPr lang="en-US" dirty="0">
                <a:ea typeface="+mn-lt"/>
                <a:cs typeface="+mn-lt"/>
              </a:rPr>
              <a:t>provide students with critical information about their own achievement and their readiness for their next level of learning. Only courses with an EOC: American Lit, US History, Biology, Algebra 1.</a:t>
            </a:r>
            <a:endParaRPr lang="en-US" dirty="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EOCs will be administered in the morning, and they will be regular school days.</a:t>
            </a:r>
            <a:endParaRPr lang="en-US" dirty="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EOCs will take place the week of April 24th, the official schedule has not been published yet: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Juniors will take American Literature (3 sections) and US History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Freshmen will take Biology and Algebra 1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EOCs are 20% of the students' course grade and they are not optional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Students must have an FCS device to take the EOC.</a:t>
            </a: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01939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+mn-lt"/>
              </a:rPr>
              <a:t>Spring Testing: AP Exam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9A30153-010B-AAC7-2B12-04D6A86375B0}"/>
              </a:ext>
            </a:extLst>
          </p:cNvPr>
          <p:cNvSpPr txBox="1"/>
          <p:nvPr/>
        </p:nvSpPr>
        <p:spPr>
          <a:xfrm>
            <a:off x="1125279" y="1674627"/>
            <a:ext cx="9879418" cy="452431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ea typeface="Calibri"/>
                <a:cs typeface="Calibri"/>
              </a:rPr>
              <a:t>All students taking an AP course will take the AP exam for that course. </a:t>
            </a:r>
          </a:p>
          <a:p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2-week testing calendar: </a:t>
            </a:r>
            <a:r>
              <a:rPr lang="en-US" dirty="0">
                <a:ea typeface="+mn-lt"/>
                <a:cs typeface="+mn-lt"/>
                <a:hlinkClick r:id="" action="ppaction://noaction"/>
              </a:rPr>
              <a:t>May 1–5 and May 8–12</a:t>
            </a:r>
            <a:r>
              <a:rPr lang="en-US" dirty="0">
                <a:ea typeface="+mn-lt"/>
                <a:cs typeface="+mn-lt"/>
              </a:rPr>
              <a:t>.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No make-up date. Late testing is </a:t>
            </a:r>
            <a:r>
              <a:rPr lang="en-US" b="1" u="sng" dirty="0">
                <a:ea typeface="Calibri"/>
                <a:cs typeface="Calibri"/>
              </a:rPr>
              <a:t>not</a:t>
            </a:r>
            <a:r>
              <a:rPr lang="en-US" dirty="0">
                <a:ea typeface="Calibri"/>
                <a:cs typeface="Calibri"/>
              </a:rPr>
              <a:t> for makeup exams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FCS pays for exams, students must be registered in AP Classroom through their course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$40 penalty fee per cancelation or unused exam</a:t>
            </a:r>
          </a:p>
          <a:p>
            <a:pPr marL="285750" indent="-285750">
              <a:buFont typeface="Arial"/>
              <a:buChar char="•"/>
            </a:pPr>
            <a:r>
              <a:rPr lang="en-US" dirty="0">
                <a:ea typeface="Calibri"/>
                <a:cs typeface="Calibri"/>
              </a:rPr>
              <a:t>Mock exam opportunities for some exams in April</a:t>
            </a:r>
          </a:p>
          <a:p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  <a:p>
            <a:pPr marL="285750" indent="-285750">
              <a:buFont typeface="Arial"/>
              <a:buChar char="•"/>
            </a:pPr>
            <a:endParaRPr lang="en-US" dirty="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970189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13C354C-A04C-D12B-0D07-4CFC67DB0DB5}"/>
              </a:ext>
            </a:extLst>
          </p:cNvPr>
          <p:cNvPicPr>
            <a:picLocks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58" y="-3119233"/>
            <a:ext cx="11443283" cy="17686686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7C6DC6D-9069-43D2-8B64-5FAF4B8097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7C6DC6D-9069-43D2-8B64-5FAF4B809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6815C6-3AD0-46E6-A74A-1967BD91AF5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11009" y="4798634"/>
            <a:ext cx="4941771" cy="1122202"/>
          </a:xfrm>
        </p:spPr>
        <p:txBody>
          <a:bodyPr vert="horz">
            <a:normAutofit fontScale="90000"/>
          </a:bodyPr>
          <a:lstStyle/>
          <a:p>
            <a:r>
              <a:rPr lang="en-US" dirty="0"/>
              <a:t>Results from</a:t>
            </a:r>
            <a:br>
              <a:rPr lang="en-US" dirty="0"/>
            </a:br>
            <a:r>
              <a:rPr lang="en-US" dirty="0"/>
              <a:t>SGC parent survey and focus groups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4509DD2C-F88D-4C91-9881-7AD0C0BA7DF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11010" y="5950684"/>
            <a:ext cx="4941770" cy="396660"/>
          </a:xfrm>
        </p:spPr>
        <p:txBody>
          <a:bodyPr>
            <a:normAutofit lnSpcReduction="10000"/>
          </a:bodyPr>
          <a:lstStyle/>
          <a:p>
            <a:r>
              <a:rPr lang="en-US" dirty="0"/>
              <a:t>15 February 2023</a:t>
            </a:r>
          </a:p>
        </p:txBody>
      </p:sp>
    </p:spTree>
    <p:extLst>
      <p:ext uri="{BB962C8B-B14F-4D97-AF65-F5344CB8AC3E}">
        <p14:creationId xmlns:p14="http://schemas.microsoft.com/office/powerpoint/2010/main" val="16424253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C3F1676A-48FD-FF55-D46D-822217AF0410}"/>
              </a:ext>
            </a:extLst>
          </p:cNvPr>
          <p:cNvPicPr>
            <a:picLocks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305" y="-3119233"/>
            <a:ext cx="11443283" cy="176866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896C5A-10DB-FCD7-245F-4744BD23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9475"/>
          </a:xfrm>
        </p:spPr>
        <p:txBody>
          <a:bodyPr>
            <a:normAutofit/>
          </a:bodyPr>
          <a:lstStyle/>
          <a:p>
            <a:r>
              <a:rPr lang="en-US" dirty="0"/>
              <a:t>Survey/Focus group results:  </a:t>
            </a:r>
            <a:br>
              <a:rPr lang="en-US" dirty="0"/>
            </a:br>
            <a:r>
              <a:rPr lang="en-US" dirty="0"/>
              <a:t>improved communications from administ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26C34-6FA5-C73D-B061-3877A58B1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CEABB6-07DC-46E8-9B57-56EC44A396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B8C7F0-FA36-028F-74FE-EABC8EE9B934}"/>
              </a:ext>
            </a:extLst>
          </p:cNvPr>
          <p:cNvSpPr txBox="1"/>
          <p:nvPr/>
        </p:nvSpPr>
        <p:spPr>
          <a:xfrm>
            <a:off x="228600" y="2276243"/>
            <a:ext cx="33782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Insufficient communications from pathway leadership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Confusion about changes to normal schedule / Flex Fridays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Lots of different places to look for inform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A8AD54-F115-E86E-8CEC-E07C172C58B1}"/>
              </a:ext>
            </a:extLst>
          </p:cNvPr>
          <p:cNvSpPr txBox="1"/>
          <p:nvPr/>
        </p:nvSpPr>
        <p:spPr>
          <a:xfrm>
            <a:off x="2032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URVEY COM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F6E9B6-ED98-43B3-7876-A949BC83D827}"/>
              </a:ext>
            </a:extLst>
          </p:cNvPr>
          <p:cNvSpPr txBox="1"/>
          <p:nvPr/>
        </p:nvSpPr>
        <p:spPr>
          <a:xfrm>
            <a:off x="417195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OCUS GROUP COM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3FFCD0-1646-63B8-A37E-18FB5BC17C78}"/>
              </a:ext>
            </a:extLst>
          </p:cNvPr>
          <p:cNvSpPr txBox="1"/>
          <p:nvPr/>
        </p:nvSpPr>
        <p:spPr>
          <a:xfrm>
            <a:off x="81407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Tenorite"/>
              </a:rPr>
              <a:t>ACTIONS BEING TAK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8FDF48-C8E8-04B3-784C-8EF72175AE77}"/>
              </a:ext>
            </a:extLst>
          </p:cNvPr>
          <p:cNvSpPr txBox="1"/>
          <p:nvPr/>
        </p:nvSpPr>
        <p:spPr>
          <a:xfrm>
            <a:off x="4197350" y="2276243"/>
            <a:ext cx="3501059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Want ‘single source of truth’ for the school calendar, school events, Flex Fridays and pathway ev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Confused about how to access Infinite Campu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tudents overwhelmed by volume of Teams messag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5" name="Triangle 14">
            <a:extLst>
              <a:ext uri="{FF2B5EF4-FFF2-40B4-BE49-F238E27FC236}">
                <a16:creationId xmlns:a16="http://schemas.microsoft.com/office/drawing/2014/main" id="{7CBC5F3E-41D2-C0D5-8997-34779D087E1B}"/>
              </a:ext>
            </a:extLst>
          </p:cNvPr>
          <p:cNvSpPr/>
          <p:nvPr/>
        </p:nvSpPr>
        <p:spPr>
          <a:xfrm rot="5400000">
            <a:off x="2083166" y="39818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6" name="Triangle 15">
            <a:extLst>
              <a:ext uri="{FF2B5EF4-FFF2-40B4-BE49-F238E27FC236}">
                <a16:creationId xmlns:a16="http://schemas.microsoft.com/office/drawing/2014/main" id="{3D018149-834A-2333-E7C4-054706EEE7C7}"/>
              </a:ext>
            </a:extLst>
          </p:cNvPr>
          <p:cNvSpPr/>
          <p:nvPr/>
        </p:nvSpPr>
        <p:spPr>
          <a:xfrm rot="5400000">
            <a:off x="6051915" y="39945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8EAE63-6B49-CCC4-9E64-F2E939D8F1DE}"/>
              </a:ext>
            </a:extLst>
          </p:cNvPr>
          <p:cNvSpPr txBox="1"/>
          <p:nvPr/>
        </p:nvSpPr>
        <p:spPr>
          <a:xfrm>
            <a:off x="8298068" y="2276243"/>
            <a:ext cx="365760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unding part-time communications leader in 2023-24 budget to coordinate effor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Investigating existing website calendar vs. a separate option to provide single source of truth for calendar, including pathway events</a:t>
            </a:r>
          </a:p>
        </p:txBody>
      </p:sp>
    </p:spTree>
    <p:extLst>
      <p:ext uri="{BB962C8B-B14F-4D97-AF65-F5344CB8AC3E}">
        <p14:creationId xmlns:p14="http://schemas.microsoft.com/office/powerpoint/2010/main" val="689930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90AEC60C-6290-4BC2-5945-95AE38D6E766}"/>
              </a:ext>
            </a:extLst>
          </p:cNvPr>
          <p:cNvPicPr>
            <a:picLocks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861" y="-3119233"/>
            <a:ext cx="11443283" cy="176866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896C5A-10DB-FCD7-245F-4744BD23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9475"/>
          </a:xfrm>
        </p:spPr>
        <p:txBody>
          <a:bodyPr>
            <a:normAutofit/>
          </a:bodyPr>
          <a:lstStyle/>
          <a:p>
            <a:r>
              <a:rPr lang="en-US" dirty="0"/>
              <a:t>Survey/Focus group results:  </a:t>
            </a:r>
            <a:r>
              <a:rPr lang="en-US" dirty="0" err="1"/>
              <a:t>ia’s</a:t>
            </a:r>
            <a:r>
              <a:rPr lang="en-US" dirty="0"/>
              <a:t> level of rigo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26C34-6FA5-C73D-B061-3877A58B1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CEABB6-07DC-46E8-9B57-56EC44A396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B8C7F0-FA36-028F-74FE-EABC8EE9B934}"/>
              </a:ext>
            </a:extLst>
          </p:cNvPr>
          <p:cNvSpPr txBox="1"/>
          <p:nvPr/>
        </p:nvSpPr>
        <p:spPr>
          <a:xfrm>
            <a:off x="228600" y="2479443"/>
            <a:ext cx="3378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Classes are too difficult, students don’t have time for extracurriculars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even advanced classes is too much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ix overlapping test dat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A8AD54-F115-E86E-8CEC-E07C172C58B1}"/>
              </a:ext>
            </a:extLst>
          </p:cNvPr>
          <p:cNvSpPr txBox="1"/>
          <p:nvPr/>
        </p:nvSpPr>
        <p:spPr>
          <a:xfrm>
            <a:off x="2032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URVEY COM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F6E9B6-ED98-43B3-7876-A949BC83D827}"/>
              </a:ext>
            </a:extLst>
          </p:cNvPr>
          <p:cNvSpPr txBox="1"/>
          <p:nvPr/>
        </p:nvSpPr>
        <p:spPr>
          <a:xfrm>
            <a:off x="417195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OCUS GROUP COM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3FFCD0-1646-63B8-A37E-18FB5BC17C78}"/>
              </a:ext>
            </a:extLst>
          </p:cNvPr>
          <p:cNvSpPr txBox="1"/>
          <p:nvPr/>
        </p:nvSpPr>
        <p:spPr>
          <a:xfrm>
            <a:off x="81407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Tenorite"/>
              </a:rPr>
              <a:t>ACTIONS BEING TAK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8FDF48-C8E8-04B3-784C-8EF72175AE77}"/>
              </a:ext>
            </a:extLst>
          </p:cNvPr>
          <p:cNvSpPr txBox="1"/>
          <p:nvPr/>
        </p:nvSpPr>
        <p:spPr>
          <a:xfrm>
            <a:off x="4197350" y="2479443"/>
            <a:ext cx="350105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IA should be a rigorous school—that’s why we came he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tudents putting a lot of pressure on themselv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“Rigor doesn’t equal more work, but better and more substantive work.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5" name="Triangle 14">
            <a:extLst>
              <a:ext uri="{FF2B5EF4-FFF2-40B4-BE49-F238E27FC236}">
                <a16:creationId xmlns:a16="http://schemas.microsoft.com/office/drawing/2014/main" id="{7CBC5F3E-41D2-C0D5-8997-34779D087E1B}"/>
              </a:ext>
            </a:extLst>
          </p:cNvPr>
          <p:cNvSpPr/>
          <p:nvPr/>
        </p:nvSpPr>
        <p:spPr>
          <a:xfrm rot="5400000">
            <a:off x="2083166" y="39818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6" name="Triangle 15">
            <a:extLst>
              <a:ext uri="{FF2B5EF4-FFF2-40B4-BE49-F238E27FC236}">
                <a16:creationId xmlns:a16="http://schemas.microsoft.com/office/drawing/2014/main" id="{3D018149-834A-2333-E7C4-054706EEE7C7}"/>
              </a:ext>
            </a:extLst>
          </p:cNvPr>
          <p:cNvSpPr/>
          <p:nvPr/>
        </p:nvSpPr>
        <p:spPr>
          <a:xfrm rot="5400000">
            <a:off x="6051915" y="39945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8EAE63-6B49-CCC4-9E64-F2E939D8F1DE}"/>
              </a:ext>
            </a:extLst>
          </p:cNvPr>
          <p:cNvSpPr txBox="1"/>
          <p:nvPr/>
        </p:nvSpPr>
        <p:spPr>
          <a:xfrm>
            <a:off x="8298068" y="2479443"/>
            <a:ext cx="36576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Hiring leader to support peer-to-peer mentorshi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Increasing 2023-24 budget funding for both an additional counselor and to fund a part-time college adviso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266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27F2C357-09DD-F41C-AC20-A6B6BB8DFEA2}"/>
              </a:ext>
            </a:extLst>
          </p:cNvPr>
          <p:cNvPicPr>
            <a:picLocks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527" y="-3119233"/>
            <a:ext cx="11443283" cy="176866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896C5A-10DB-FCD7-245F-4744BD23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9475"/>
          </a:xfrm>
        </p:spPr>
        <p:txBody>
          <a:bodyPr>
            <a:normAutofit/>
          </a:bodyPr>
          <a:lstStyle/>
          <a:p>
            <a:r>
              <a:rPr lang="en-US" dirty="0"/>
              <a:t>Survey/ Focus group results:  </a:t>
            </a:r>
            <a:br>
              <a:rPr lang="en-US" dirty="0"/>
            </a:br>
            <a:r>
              <a:rPr lang="en-US" dirty="0"/>
              <a:t>virtual class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26C34-6FA5-C73D-B061-3877A58B1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CEABB6-07DC-46E8-9B57-56EC44A396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B8C7F0-FA36-028F-74FE-EABC8EE9B934}"/>
              </a:ext>
            </a:extLst>
          </p:cNvPr>
          <p:cNvSpPr txBox="1"/>
          <p:nvPr/>
        </p:nvSpPr>
        <p:spPr>
          <a:xfrm>
            <a:off x="228600" y="2200043"/>
            <a:ext cx="3378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High level of dissatisfaction with virtual language instruction and virtual classes in general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Desire for on-site engagement with students for languag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A8AD54-F115-E86E-8CEC-E07C172C58B1}"/>
              </a:ext>
            </a:extLst>
          </p:cNvPr>
          <p:cNvSpPr txBox="1"/>
          <p:nvPr/>
        </p:nvSpPr>
        <p:spPr>
          <a:xfrm>
            <a:off x="2032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URVEY COM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F6E9B6-ED98-43B3-7876-A949BC83D827}"/>
              </a:ext>
            </a:extLst>
          </p:cNvPr>
          <p:cNvSpPr txBox="1"/>
          <p:nvPr/>
        </p:nvSpPr>
        <p:spPr>
          <a:xfrm>
            <a:off x="417195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OCUS GROUP COM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3FFCD0-1646-63B8-A37E-18FB5BC17C78}"/>
              </a:ext>
            </a:extLst>
          </p:cNvPr>
          <p:cNvSpPr txBox="1"/>
          <p:nvPr/>
        </p:nvSpPr>
        <p:spPr>
          <a:xfrm>
            <a:off x="81407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Tenorite"/>
              </a:rPr>
              <a:t>ACTIONS BEING TAK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8FDF48-C8E8-04B3-784C-8EF72175AE77}"/>
              </a:ext>
            </a:extLst>
          </p:cNvPr>
          <p:cNvSpPr txBox="1"/>
          <p:nvPr/>
        </p:nvSpPr>
        <p:spPr>
          <a:xfrm>
            <a:off x="4197350" y="2200043"/>
            <a:ext cx="35010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Parents perceive that students don’t consistently take the classes seriously and don’t have to do their wo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ome parents looking for a more supervised space for students</a:t>
            </a:r>
          </a:p>
        </p:txBody>
      </p:sp>
      <p:sp>
        <p:nvSpPr>
          <p:cNvPr id="15" name="Triangle 14">
            <a:extLst>
              <a:ext uri="{FF2B5EF4-FFF2-40B4-BE49-F238E27FC236}">
                <a16:creationId xmlns:a16="http://schemas.microsoft.com/office/drawing/2014/main" id="{7CBC5F3E-41D2-C0D5-8997-34779D087E1B}"/>
              </a:ext>
            </a:extLst>
          </p:cNvPr>
          <p:cNvSpPr/>
          <p:nvPr/>
        </p:nvSpPr>
        <p:spPr>
          <a:xfrm rot="5400000">
            <a:off x="2083166" y="39818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6" name="Triangle 15">
            <a:extLst>
              <a:ext uri="{FF2B5EF4-FFF2-40B4-BE49-F238E27FC236}">
                <a16:creationId xmlns:a16="http://schemas.microsoft.com/office/drawing/2014/main" id="{3D018149-834A-2333-E7C4-054706EEE7C7}"/>
              </a:ext>
            </a:extLst>
          </p:cNvPr>
          <p:cNvSpPr/>
          <p:nvPr/>
        </p:nvSpPr>
        <p:spPr>
          <a:xfrm rot="5400000">
            <a:off x="6051915" y="39945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8EAE63-6B49-CCC4-9E64-F2E939D8F1DE}"/>
              </a:ext>
            </a:extLst>
          </p:cNvPr>
          <p:cNvSpPr txBox="1"/>
          <p:nvPr/>
        </p:nvSpPr>
        <p:spPr>
          <a:xfrm>
            <a:off x="8298068" y="2200043"/>
            <a:ext cx="36576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unding additional virtual class support as part of 2023-24 budg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Language tables during lunches for students to speak with native-speakers (parent volunteers?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Exchange/Travel Abroad program to provide immersive experiences</a:t>
            </a:r>
          </a:p>
        </p:txBody>
      </p:sp>
    </p:spTree>
    <p:extLst>
      <p:ext uri="{BB962C8B-B14F-4D97-AF65-F5344CB8AC3E}">
        <p14:creationId xmlns:p14="http://schemas.microsoft.com/office/powerpoint/2010/main" val="216573769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28CE25B3-23DA-4300-FF4D-E5E5FEAF04CD}"/>
              </a:ext>
            </a:extLst>
          </p:cNvPr>
          <p:cNvPicPr>
            <a:picLocks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017" y="-3085677"/>
            <a:ext cx="11443283" cy="176866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3896C5A-10DB-FCD7-245F-4744BD231D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9475"/>
          </a:xfrm>
        </p:spPr>
        <p:txBody>
          <a:bodyPr>
            <a:normAutofit/>
          </a:bodyPr>
          <a:lstStyle/>
          <a:p>
            <a:r>
              <a:rPr lang="en-US" dirty="0"/>
              <a:t>Survey/Focus group results:  </a:t>
            </a:r>
            <a:br>
              <a:rPr lang="en-US" dirty="0"/>
            </a:br>
            <a:r>
              <a:rPr lang="en-US" dirty="0"/>
              <a:t>expectations for student independenc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26C34-6FA5-C73D-B061-3877A58B1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CEABB6-07DC-46E8-9B57-56EC44A396E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DB8C7F0-FA36-028F-74FE-EABC8EE9B934}"/>
              </a:ext>
            </a:extLst>
          </p:cNvPr>
          <p:cNvSpPr txBox="1"/>
          <p:nvPr/>
        </p:nvSpPr>
        <p:spPr>
          <a:xfrm>
            <a:off x="228600" y="2149243"/>
            <a:ext cx="33782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Treat the students as high-school students, they aren’t in college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Less opportunity for free time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reshman education on time management</a:t>
            </a: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465138" marR="0" lvl="1" indent="-3270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Too much flexibility on Friday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0A8AD54-F115-E86E-8CEC-E07C172C58B1}"/>
              </a:ext>
            </a:extLst>
          </p:cNvPr>
          <p:cNvSpPr txBox="1"/>
          <p:nvPr/>
        </p:nvSpPr>
        <p:spPr>
          <a:xfrm>
            <a:off x="2032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URVEY COMMEN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DF6E9B6-ED98-43B3-7876-A949BC83D827}"/>
              </a:ext>
            </a:extLst>
          </p:cNvPr>
          <p:cNvSpPr txBox="1"/>
          <p:nvPr/>
        </p:nvSpPr>
        <p:spPr>
          <a:xfrm>
            <a:off x="417195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FOCUS GROUP COM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63FFCD0-1646-63B8-A37E-18FB5BC17C78}"/>
              </a:ext>
            </a:extLst>
          </p:cNvPr>
          <p:cNvSpPr txBox="1"/>
          <p:nvPr/>
        </p:nvSpPr>
        <p:spPr>
          <a:xfrm>
            <a:off x="8140700" y="1638300"/>
            <a:ext cx="3657600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Tenorite"/>
              </a:rPr>
              <a:t>ACTIONS BEING TAK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8FDF48-C8E8-04B3-784C-8EF72175AE77}"/>
              </a:ext>
            </a:extLst>
          </p:cNvPr>
          <p:cNvSpPr txBox="1"/>
          <p:nvPr/>
        </p:nvSpPr>
        <p:spPr>
          <a:xfrm>
            <a:off x="4197350" y="2149243"/>
            <a:ext cx="3501059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tudents need to earn their freedom and get it more gradually vs. an abrupt shift from middle schoo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solidFill>
                <a:prstClr val="black"/>
              </a:solidFill>
              <a:latin typeface="Tenorite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Need significantly improved responsiveness from counselors to parent phone cal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5" name="Triangle 14">
            <a:extLst>
              <a:ext uri="{FF2B5EF4-FFF2-40B4-BE49-F238E27FC236}">
                <a16:creationId xmlns:a16="http://schemas.microsoft.com/office/drawing/2014/main" id="{7CBC5F3E-41D2-C0D5-8997-34779D087E1B}"/>
              </a:ext>
            </a:extLst>
          </p:cNvPr>
          <p:cNvSpPr/>
          <p:nvPr/>
        </p:nvSpPr>
        <p:spPr>
          <a:xfrm rot="5400000">
            <a:off x="2083166" y="39818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6" name="Triangle 15">
            <a:extLst>
              <a:ext uri="{FF2B5EF4-FFF2-40B4-BE49-F238E27FC236}">
                <a16:creationId xmlns:a16="http://schemas.microsoft.com/office/drawing/2014/main" id="{3D018149-834A-2333-E7C4-054706EEE7C7}"/>
              </a:ext>
            </a:extLst>
          </p:cNvPr>
          <p:cNvSpPr/>
          <p:nvPr/>
        </p:nvSpPr>
        <p:spPr>
          <a:xfrm rot="5400000">
            <a:off x="6051915" y="3994515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D8EAE63-6B49-CCC4-9E64-F2E939D8F1DE}"/>
              </a:ext>
            </a:extLst>
          </p:cNvPr>
          <p:cNvSpPr txBox="1"/>
          <p:nvPr/>
        </p:nvSpPr>
        <p:spPr>
          <a:xfrm>
            <a:off x="8298068" y="2149243"/>
            <a:ext cx="36576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Launching IA Bridge Program (2-week session to acclimate students to IA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Shifting guidance to teachers for a ‘gradual release’ of accountability to students (full independence by end of junior yea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Building out communication calendar for college and career to support to allow counselors more focus on counseling and scheduling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15416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0822" y="1629295"/>
            <a:ext cx="5579027" cy="4367744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2800" dirty="0"/>
              <a:t>Spring in Review ~ Next Generation of Parent Leaders to be Identified</a:t>
            </a:r>
          </a:p>
          <a:p>
            <a:r>
              <a:rPr lang="en-US" dirty="0"/>
              <a:t>Q3 General Membership Meeting March 1</a:t>
            </a:r>
            <a:r>
              <a:rPr lang="en-US" baseline="30000" dirty="0"/>
              <a:t>st</a:t>
            </a:r>
            <a:r>
              <a:rPr lang="en-US" dirty="0"/>
              <a:t> @ 7 pm Virtual</a:t>
            </a:r>
          </a:p>
          <a:p>
            <a:pPr lvl="1"/>
            <a:r>
              <a:rPr lang="en-US" dirty="0"/>
              <a:t>Nominating  Committee for SY2023/SY2023 Exec Board</a:t>
            </a:r>
          </a:p>
          <a:p>
            <a:pPr lvl="1"/>
            <a:r>
              <a:rPr lang="en-US" dirty="0"/>
              <a:t>Only 3 of 9 Exec Board Members may return to current role</a:t>
            </a:r>
          </a:p>
          <a:p>
            <a:pPr lvl="1"/>
            <a:r>
              <a:rPr lang="en-US" dirty="0"/>
              <a:t>20 Advisory Board/Committee Chair roles</a:t>
            </a:r>
          </a:p>
          <a:p>
            <a:pPr lvl="1"/>
            <a:r>
              <a:rPr lang="en-US" dirty="0"/>
              <a:t>Anyone interested may email </a:t>
            </a:r>
            <a:r>
              <a:rPr lang="en-US" dirty="0">
                <a:hlinkClick r:id="rId2"/>
              </a:rPr>
              <a:t>president@iaptso.org</a:t>
            </a:r>
            <a:r>
              <a:rPr lang="en-US" dirty="0"/>
              <a:t> to meet/chat with Carissa and/or I</a:t>
            </a:r>
          </a:p>
        </p:txBody>
      </p:sp>
      <p:pic>
        <p:nvPicPr>
          <p:cNvPr id="9" name="Picture Placeholder 8" descr="Handing touching mobile phone">
            <a:extLst>
              <a:ext uri="{FF2B5EF4-FFF2-40B4-BE49-F238E27FC236}">
                <a16:creationId xmlns:a16="http://schemas.microsoft.com/office/drawing/2014/main" id="{A9A75888-22E3-1D43-9112-DA02186070B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371351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FA08948-2B6F-46B1-9D2D-8D7B2B3FB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48588" y="3688075"/>
            <a:ext cx="2411412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800" dirty="0"/>
              <a:t>Founding Offic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xecutive Board and Advisory Board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554D9F-1895-486E-BFBA-905BB2D29E0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7466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7D5F4A5B-B180-947B-3D1E-ACE2D5CFA21A}"/>
              </a:ext>
            </a:extLst>
          </p:cNvPr>
          <p:cNvPicPr>
            <a:picLocks noGrp="1" noRot="1" noMove="1" noResize="1" noEditPoints="1" noAdjustHandles="1" noChangeArrowheads="1" noChangeShapeType="1" noCrop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358" y="-3119233"/>
            <a:ext cx="11443283" cy="1768668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6B1538A-239A-A688-4223-E4CBD1BCB234}"/>
              </a:ext>
            </a:extLst>
          </p:cNvPr>
          <p:cNvSpPr txBox="1"/>
          <p:nvPr/>
        </p:nvSpPr>
        <p:spPr>
          <a:xfrm>
            <a:off x="3837342" y="733231"/>
            <a:ext cx="4308151" cy="3693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white"/>
                </a:solidFill>
                <a:latin typeface="Tenorite"/>
              </a:rPr>
              <a:t>Budgetary Prioriti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FCF4121-7844-F19B-EEA2-AE25E3D45CA8}"/>
              </a:ext>
            </a:extLst>
          </p:cNvPr>
          <p:cNvSpPr txBox="1"/>
          <p:nvPr/>
        </p:nvSpPr>
        <p:spPr>
          <a:xfrm>
            <a:off x="4178689" y="1169529"/>
            <a:ext cx="374611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We are purchasing an additional counselor position above our allocatio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enorite"/>
              </a:rPr>
              <a:t>We are purchasing a half-time College and Career Center support staff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Allocating personnel resources to support internal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norite"/>
                <a:ea typeface="+mn-ea"/>
                <a:cs typeface="+mn-cs"/>
              </a:rPr>
              <a:t>and external communication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5" name="Triangle 14">
            <a:extLst>
              <a:ext uri="{FF2B5EF4-FFF2-40B4-BE49-F238E27FC236}">
                <a16:creationId xmlns:a16="http://schemas.microsoft.com/office/drawing/2014/main" id="{95682699-88B5-CABE-DC38-6133E36C5AA4}"/>
              </a:ext>
            </a:extLst>
          </p:cNvPr>
          <p:cNvSpPr/>
          <p:nvPr/>
        </p:nvSpPr>
        <p:spPr>
          <a:xfrm rot="5400000">
            <a:off x="1989860" y="3017012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  <p:sp>
        <p:nvSpPr>
          <p:cNvPr id="6" name="Triangle 14">
            <a:extLst>
              <a:ext uri="{FF2B5EF4-FFF2-40B4-BE49-F238E27FC236}">
                <a16:creationId xmlns:a16="http://schemas.microsoft.com/office/drawing/2014/main" id="{C7BCF34E-B49C-0D49-AF0E-8E22754847C3}"/>
              </a:ext>
            </a:extLst>
          </p:cNvPr>
          <p:cNvSpPr/>
          <p:nvPr/>
        </p:nvSpPr>
        <p:spPr>
          <a:xfrm rot="16200000">
            <a:off x="6056709" y="3017012"/>
            <a:ext cx="3936267" cy="241301"/>
          </a:xfrm>
          <a:prstGeom prst="triangl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norit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771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13" descr="Hand writing on post-it note">
            <a:extLst>
              <a:ext uri="{FF2B5EF4-FFF2-40B4-BE49-F238E27FC236}">
                <a16:creationId xmlns:a16="http://schemas.microsoft.com/office/drawing/2014/main" id="{7E468295-904F-0743-AD06-67DA21353B9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6096000" cy="6371351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FA08948-2B6F-46B1-9D2D-8D7B2B3FB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775824" y="1762069"/>
            <a:ext cx="1984175" cy="1148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8100" y="1869795"/>
            <a:ext cx="6641900" cy="1124345"/>
          </a:xfrm>
        </p:spPr>
        <p:txBody>
          <a:bodyPr/>
          <a:lstStyle/>
          <a:p>
            <a:r>
              <a:rPr lang="en-US" sz="5400" dirty="0"/>
              <a:t>Cultivate ~ Career Fai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Friday, February 24</a:t>
            </a:r>
            <a:r>
              <a:rPr lang="en-US" baseline="30000" dirty="0"/>
              <a:t>th 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8000" y="3675413"/>
            <a:ext cx="5472000" cy="2802577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800" dirty="0"/>
              <a:t>Calling all Business Partners &amp; Parent Volunteers</a:t>
            </a:r>
          </a:p>
          <a:p>
            <a:r>
              <a:rPr lang="en-US" dirty="0"/>
              <a:t>Interviews</a:t>
            </a:r>
          </a:p>
          <a:p>
            <a:r>
              <a:rPr lang="en-US" dirty="0"/>
              <a:t>Resume Feedback</a:t>
            </a:r>
          </a:p>
          <a:p>
            <a:r>
              <a:rPr lang="en-US" dirty="0"/>
              <a:t>Pathway Panel Discussions</a:t>
            </a:r>
          </a:p>
          <a:p>
            <a:r>
              <a:rPr lang="en-US" dirty="0"/>
              <a:t>Expo </a:t>
            </a:r>
          </a:p>
          <a:p>
            <a:r>
              <a:rPr lang="en-US" dirty="0"/>
              <a:t>Choice Board Session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554D9F-1895-486E-BFBA-905BB2D29E08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BB3B07-1B78-CC03-A9C8-DF87114F8567}"/>
              </a:ext>
            </a:extLst>
          </p:cNvPr>
          <p:cNvSpPr txBox="1"/>
          <p:nvPr/>
        </p:nvSpPr>
        <p:spPr>
          <a:xfrm>
            <a:off x="7148945" y="273132"/>
            <a:ext cx="4815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u="sng" dirty="0">
                <a:solidFill>
                  <a:srgbClr val="0000FF"/>
                </a:solidFill>
                <a:effectLst/>
                <a:latin typeface="Helvetica" panose="020B0604020202020204" pitchFamily="34" charset="0"/>
                <a:ea typeface="Calibri" panose="020F0502020204030204" pitchFamily="34" charset="0"/>
                <a:hlinkClick r:id="rId3"/>
              </a:rPr>
              <a:t>https://form.jotform.com/230298178183160</a:t>
            </a:r>
            <a:r>
              <a:rPr lang="en-US" sz="1800" dirty="0">
                <a:solidFill>
                  <a:srgbClr val="26282A"/>
                </a:solidFill>
                <a:effectLst/>
                <a:latin typeface="Helvetica" panose="020B0604020202020204" pitchFamily="34" charset="0"/>
                <a:ea typeface="Calibri" panose="020F0502020204030204" pitchFamily="34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2D08C3-4172-FD86-DE76-BCFE27E01A42}"/>
              </a:ext>
            </a:extLst>
          </p:cNvPr>
          <p:cNvSpPr txBox="1"/>
          <p:nvPr/>
        </p:nvSpPr>
        <p:spPr>
          <a:xfrm>
            <a:off x="6240484" y="273132"/>
            <a:ext cx="10272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ign Up:</a:t>
            </a:r>
          </a:p>
        </p:txBody>
      </p:sp>
    </p:spTree>
    <p:extLst>
      <p:ext uri="{BB962C8B-B14F-4D97-AF65-F5344CB8AC3E}">
        <p14:creationId xmlns:p14="http://schemas.microsoft.com/office/powerpoint/2010/main" val="7220987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Desk with computer, phone, books, etc.">
            <a:extLst>
              <a:ext uri="{FF2B5EF4-FFF2-40B4-BE49-F238E27FC236}">
                <a16:creationId xmlns:a16="http://schemas.microsoft.com/office/drawing/2014/main" id="{2E7ADBC3-DECA-9F4C-9289-9E43C727592F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eacher Grants</a:t>
            </a:r>
            <a:br>
              <a:rPr lang="en-US" dirty="0"/>
            </a:br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278402B-CA7D-4F5B-B3FA-ED74AB3CFB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3200" dirty="0"/>
              <a:t>Awarded Year to Date $20k!!!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D5A594-D852-43BB-B591-E9D9027253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6746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304E83-A4F0-49C5-BB01-F5773509A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72668"/>
            <a:ext cx="11340000" cy="432000"/>
          </a:xfrm>
        </p:spPr>
        <p:txBody>
          <a:bodyPr>
            <a:normAutofit fontScale="90000"/>
          </a:bodyPr>
          <a:lstStyle/>
          <a:p>
            <a:r>
              <a:rPr lang="en-US" dirty="0"/>
              <a:t>Teacher Gra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A42D59-EAD6-4F95-84F1-32A30F05785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45168" y="1015810"/>
            <a:ext cx="11339513" cy="36000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Thank you to our members for making this a reality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65E93D-09FF-42EE-B9DD-7506389666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1800" y="2100316"/>
            <a:ext cx="4324268" cy="1581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AB259A0-0017-492F-A0DC-4B70C7052A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0" y="1735594"/>
            <a:ext cx="3546234" cy="360000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ofessional Developm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EEB3BAE-C0B2-447C-B8BE-96C6BD84D6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2000" y="2300772"/>
            <a:ext cx="5472000" cy="646686"/>
          </a:xfrm>
        </p:spPr>
        <p:txBody>
          <a:bodyPr>
            <a:normAutofit fontScale="62500" lnSpcReduction="20000"/>
          </a:bodyPr>
          <a:lstStyle/>
          <a:p>
            <a:r>
              <a:rPr lang="en-US" dirty="0"/>
              <a:t>Ian Custar ~ NCTE Conference</a:t>
            </a:r>
          </a:p>
          <a:p>
            <a:r>
              <a:rPr lang="en-US" dirty="0"/>
              <a:t>LeAnn Vaughn ~ NSTA Conferenc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A563457-1EC8-4978-BCCB-AFD88C9ED0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6092784" y="2363035"/>
            <a:ext cx="20286" cy="2393033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237D1CA-B91A-410E-A968-D017BBE99F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80388" y="1753006"/>
            <a:ext cx="6698994" cy="358775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Academic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A87885-D672-4CF9-A78D-CFE98385B0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80388" y="2315689"/>
            <a:ext cx="6892627" cy="4430463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Bob Kuhn ~ Mini PCR Thermocycler</a:t>
            </a:r>
          </a:p>
          <a:p>
            <a:r>
              <a:rPr lang="en-US" dirty="0"/>
              <a:t>Ginny Berkemeier ~ Genetic Modification Fruit Flies\</a:t>
            </a:r>
          </a:p>
          <a:p>
            <a:r>
              <a:rPr lang="en-US" dirty="0"/>
              <a:t>Laura Taylor ~ Budget Challenge Program Subscription for Financial Literacy Instruction</a:t>
            </a:r>
          </a:p>
          <a:p>
            <a:r>
              <a:rPr lang="en-US" dirty="0"/>
              <a:t>Bob Kuhn ~ Gel electrophoresis for biotech lab </a:t>
            </a:r>
          </a:p>
          <a:p>
            <a:r>
              <a:rPr lang="en-US" dirty="0"/>
              <a:t>Patrick Wiegand ~ Soil &amp; Water Erosion Stream Tables</a:t>
            </a:r>
          </a:p>
          <a:p>
            <a:r>
              <a:rPr lang="en-US" dirty="0"/>
              <a:t>Ginny Berkemeier ~ Viral Diagnostic Lab: Beating the Next Pandemic</a:t>
            </a:r>
          </a:p>
          <a:p>
            <a:r>
              <a:rPr lang="en-US" dirty="0"/>
              <a:t>Sean Fallon ~ EMT Training</a:t>
            </a:r>
          </a:p>
          <a:p>
            <a:r>
              <a:rPr lang="en-US" dirty="0"/>
              <a:t>Kenny Marbry ~ Science Lab Vacuum  Filtration Pumps</a:t>
            </a:r>
          </a:p>
          <a:p>
            <a:r>
              <a:rPr lang="en-US" dirty="0"/>
              <a:t>Ian Custar ~ Book: "Justice: What's the Right Thing to Do?" by Michael Sandel (Joint ELA/SS)</a:t>
            </a:r>
          </a:p>
          <a:p>
            <a:r>
              <a:rPr lang="en-US" dirty="0"/>
              <a:t>Pam Whitlock &amp; Ginny Berkemeier ~ Sphero BOLT Power Pack</a:t>
            </a:r>
          </a:p>
          <a:p>
            <a:r>
              <a:rPr lang="en-US" dirty="0"/>
              <a:t>Steve Jones ~ Telescope &amp; Accessories for Astrology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6AC9832-FB01-464A-9824-61887B77997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760000" y="6371351"/>
            <a:ext cx="432000" cy="432000"/>
          </a:xfrm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E28932-0B3A-23D7-6D50-01E8587024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1800" y="4507143"/>
            <a:ext cx="4324268" cy="1430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96A501-75CE-98F1-11B8-4FF2F01FF897}"/>
              </a:ext>
            </a:extLst>
          </p:cNvPr>
          <p:cNvSpPr txBox="1"/>
          <p:nvPr/>
        </p:nvSpPr>
        <p:spPr>
          <a:xfrm>
            <a:off x="318985" y="4650187"/>
            <a:ext cx="45498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min ~ School Wide High Quality Dr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unselling ~ Portable Monitors &amp; Stands to support student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CC7BE22-3474-C2F3-6897-95440B794DE3}"/>
              </a:ext>
            </a:extLst>
          </p:cNvPr>
          <p:cNvSpPr txBox="1"/>
          <p:nvPr/>
        </p:nvSpPr>
        <p:spPr>
          <a:xfrm>
            <a:off x="390408" y="4102891"/>
            <a:ext cx="40511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dministration</a:t>
            </a: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FFBC9849-0564-2EBE-7E37-367E8CFBD716}"/>
              </a:ext>
            </a:extLst>
          </p:cNvPr>
          <p:cNvSpPr/>
          <p:nvPr/>
        </p:nvSpPr>
        <p:spPr>
          <a:xfrm>
            <a:off x="9785269" y="111848"/>
            <a:ext cx="2099423" cy="1520041"/>
          </a:xfrm>
          <a:prstGeom prst="star5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ose – Anne Schmid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CA7D20F-E535-F177-020F-574C9BB6EF9F}"/>
              </a:ext>
            </a:extLst>
          </p:cNvPr>
          <p:cNvSpPr txBox="1"/>
          <p:nvPr/>
        </p:nvSpPr>
        <p:spPr>
          <a:xfrm>
            <a:off x="7558645" y="516577"/>
            <a:ext cx="22266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bg1">
                    <a:lumMod val="50000"/>
                  </a:schemeClr>
                </a:solidFill>
              </a:rPr>
              <a:t>Thank You to our Star Teacher Grants Committee Chair!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D2FACE-930B-4B39-6E8D-F177EC881CF8}"/>
              </a:ext>
            </a:extLst>
          </p:cNvPr>
          <p:cNvSpPr/>
          <p:nvPr/>
        </p:nvSpPr>
        <p:spPr>
          <a:xfrm>
            <a:off x="4980388" y="2097343"/>
            <a:ext cx="6779612" cy="161147"/>
          </a:xfrm>
          <a:prstGeom prst="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8378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conference room">
            <a:extLst>
              <a:ext uri="{FF2B5EF4-FFF2-40B4-BE49-F238E27FC236}">
                <a16:creationId xmlns:a16="http://schemas.microsoft.com/office/drawing/2014/main" id="{8F5AE0D5-C196-A947-8AFE-449A48B2615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5" b="45"/>
          <a:stretch>
            <a:fillRect/>
          </a:stretch>
        </p:blipFill>
        <p:spPr>
          <a:xfrm>
            <a:off x="0" y="-95001"/>
            <a:ext cx="12192000" cy="6371350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86E961-B76E-423F-995E-11B31E9214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73984" y="5225143"/>
            <a:ext cx="3437907" cy="700156"/>
          </a:xfrm>
          <a:solidFill>
            <a:schemeClr val="tx1">
              <a:lumMod val="95000"/>
              <a:lumOff val="5000"/>
            </a:schemeClr>
          </a:solidFill>
        </p:spPr>
        <p:txBody>
          <a:bodyPr>
            <a:normAutofit fontScale="32500" lnSpcReduction="20000"/>
          </a:bodyPr>
          <a:lstStyle/>
          <a:p>
            <a:r>
              <a:rPr lang="en-US" dirty="0"/>
              <a:t>Thursday March 2</a:t>
            </a:r>
            <a:r>
              <a:rPr lang="en-US" baseline="30000" dirty="0"/>
              <a:t>nd</a:t>
            </a:r>
            <a:r>
              <a:rPr lang="en-US" dirty="0"/>
              <a:t> after school</a:t>
            </a:r>
          </a:p>
          <a:p>
            <a:r>
              <a:rPr lang="en-US" dirty="0"/>
              <a:t>Student Choice Movie Ev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202D98-AA1E-41BB-B94E-180311759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9B51A1E-902D-48AF-9020-955120F399B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Title 10" hidden="1">
            <a:extLst>
              <a:ext uri="{FF2B5EF4-FFF2-40B4-BE49-F238E27FC236}">
                <a16:creationId xmlns:a16="http://schemas.microsoft.com/office/drawing/2014/main" id="{C5462610-1D7E-437B-B516-F30D9A789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arge im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B5C3453-A1DA-D2A6-F682-A3114AF482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9661" y="2028967"/>
            <a:ext cx="1564711" cy="231341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E170525-C0AA-05F4-CA7E-55441B9B4CA3}"/>
              </a:ext>
            </a:extLst>
          </p:cNvPr>
          <p:cNvSpPr txBox="1"/>
          <p:nvPr/>
        </p:nvSpPr>
        <p:spPr>
          <a:xfrm>
            <a:off x="2838202" y="184067"/>
            <a:ext cx="46254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Puss in Boots ~ The Last Wish</a:t>
            </a:r>
          </a:p>
        </p:txBody>
      </p:sp>
    </p:spTree>
    <p:extLst>
      <p:ext uri="{BB962C8B-B14F-4D97-AF65-F5344CB8AC3E}">
        <p14:creationId xmlns:p14="http://schemas.microsoft.com/office/powerpoint/2010/main" val="665219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Placeholder 22" descr="Woman on laptop smiling">
            <a:extLst>
              <a:ext uri="{FF2B5EF4-FFF2-40B4-BE49-F238E27FC236}">
                <a16:creationId xmlns:a16="http://schemas.microsoft.com/office/drawing/2014/main" id="{35E3CE9E-B03C-CB4B-A83A-D3265C7A054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700" y="2156226"/>
            <a:ext cx="4903599" cy="1958400"/>
          </a:xfrm>
        </p:spPr>
        <p:txBody>
          <a:bodyPr/>
          <a:lstStyle/>
          <a:p>
            <a:r>
              <a:rPr lang="en-US" dirty="0"/>
              <a:t>Phoenix Fest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972F17A-D965-40B9-8ABB-C634072DBC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4110760"/>
            <a:ext cx="4902200" cy="1100565"/>
          </a:xfrm>
        </p:spPr>
        <p:txBody>
          <a:bodyPr/>
          <a:lstStyle/>
          <a:p>
            <a:r>
              <a:rPr lang="en-US" dirty="0"/>
              <a:t>Save the Date ~ Thursday, April 13</a:t>
            </a:r>
            <a:r>
              <a:rPr lang="en-US" baseline="30000" dirty="0"/>
              <a:t>th</a:t>
            </a:r>
            <a:r>
              <a:rPr lang="en-US" dirty="0"/>
              <a:t> </a:t>
            </a:r>
          </a:p>
          <a:p>
            <a:r>
              <a:rPr lang="en-US" dirty="0"/>
              <a:t>4:15 pm to 8:00 pm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964141-6F81-4947-A236-746D94ED3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954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Placeholder 31" descr="hand clapping">
            <a:extLst>
              <a:ext uri="{FF2B5EF4-FFF2-40B4-BE49-F238E27FC236}">
                <a16:creationId xmlns:a16="http://schemas.microsoft.com/office/drawing/2014/main" id="{AAB6EE12-FEF8-FB41-A909-0DA61D7725C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4" name="Title 13">
            <a:extLst>
              <a:ext uri="{FF2B5EF4-FFF2-40B4-BE49-F238E27FC236}">
                <a16:creationId xmlns:a16="http://schemas.microsoft.com/office/drawing/2014/main" id="{6C38D7A9-9299-4108-BB08-026F4B9CAE7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828E04-9C2A-4859-8050-C2DF67A249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62500" lnSpcReduction="20000"/>
          </a:bodyPr>
          <a:lstStyle/>
          <a:p>
            <a:r>
              <a:rPr lang="en-US" dirty="0"/>
              <a:t>Lorri Werner</a:t>
            </a:r>
          </a:p>
        </p:txBody>
      </p:sp>
      <p:pic>
        <p:nvPicPr>
          <p:cNvPr id="8" name="Graphic 7" descr="User" title="Icon - Presenter Name">
            <a:extLst>
              <a:ext uri="{FF2B5EF4-FFF2-40B4-BE49-F238E27FC236}">
                <a16:creationId xmlns:a16="http://schemas.microsoft.com/office/drawing/2014/main" id="{111541C4-DB03-4E53-994D-499C7D73C4D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485495" y="4006655"/>
            <a:ext cx="218900" cy="218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265965-2271-4C1C-BD0A-6F85F80FF9A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62500" lnSpcReduction="20000"/>
          </a:bodyPr>
          <a:lstStyle/>
          <a:p>
            <a:r>
              <a:rPr lang="en-US" dirty="0"/>
              <a:t>770.363.9190</a:t>
            </a:r>
          </a:p>
        </p:txBody>
      </p:sp>
      <p:pic>
        <p:nvPicPr>
          <p:cNvPr id="10" name="Graphic 9" descr="Smart Phone" title="Icon - Presenter Phone Number">
            <a:extLst>
              <a:ext uri="{FF2B5EF4-FFF2-40B4-BE49-F238E27FC236}">
                <a16:creationId xmlns:a16="http://schemas.microsoft.com/office/drawing/2014/main" id="{A29DE31C-E099-4579-BB03-675E0A40C5F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485495" y="4355103"/>
            <a:ext cx="218900" cy="218900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A3BCC3-A277-4C0B-9EBA-EB53990D8E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62500" lnSpcReduction="20000"/>
          </a:bodyPr>
          <a:lstStyle/>
          <a:p>
            <a:r>
              <a:rPr lang="en-US" dirty="0"/>
              <a:t>president@iaptso.org</a:t>
            </a:r>
          </a:p>
        </p:txBody>
      </p:sp>
      <p:pic>
        <p:nvPicPr>
          <p:cNvPr id="9" name="Graphic 8" descr="Envelope" title="Icon Presenter Email">
            <a:extLst>
              <a:ext uri="{FF2B5EF4-FFF2-40B4-BE49-F238E27FC236}">
                <a16:creationId xmlns:a16="http://schemas.microsoft.com/office/drawing/2014/main" id="{773C1382-ACE1-460F-A1B6-AB761A7D2E6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485495" y="4703551"/>
            <a:ext cx="218900" cy="2189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D8A1232-50A8-4535-AAF9-7F4180EAA0D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62500" lnSpcReduction="20000"/>
          </a:bodyPr>
          <a:lstStyle/>
          <a:p>
            <a:r>
              <a:rPr lang="en-US" dirty="0"/>
              <a:t>IA PTSO</a:t>
            </a:r>
          </a:p>
        </p:txBody>
      </p:sp>
      <p:pic>
        <p:nvPicPr>
          <p:cNvPr id="11" name="Graphic 10" descr="Link">
            <a:extLst>
              <a:ext uri="{FF2B5EF4-FFF2-40B4-BE49-F238E27FC236}">
                <a16:creationId xmlns:a16="http://schemas.microsoft.com/office/drawing/2014/main" id="{0718E6E0-05A2-479C-AEA8-1A385EB73474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472552" y="5040763"/>
            <a:ext cx="244786" cy="244786"/>
          </a:xfrm>
          <a:prstGeom prst="rect">
            <a:avLst/>
          </a:prstGeom>
        </p:spPr>
      </p:pic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1814EC9-246A-4C6E-941E-5774FE72F08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solidFill>
            <a:schemeClr val="tx1">
              <a:lumMod val="95000"/>
              <a:lumOff val="5000"/>
            </a:schemeClr>
          </a:solidFill>
        </p:spPr>
        <p:txBody>
          <a:bodyPr/>
          <a:lstStyle/>
          <a:p>
            <a:fld id="{19B51A1E-902D-48AF-9020-955120F399B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36783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Icon&#10;&#10;Description automatically generated">
            <a:extLst>
              <a:ext uri="{FF2B5EF4-FFF2-40B4-BE49-F238E27FC236}">
                <a16:creationId xmlns:a16="http://schemas.microsoft.com/office/drawing/2014/main" id="{18A5AF76-DFAD-387F-8268-008AA569CD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idx="1"/>
          </p:nvPr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193" y="-3119233"/>
            <a:ext cx="11443283" cy="17686686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D69832A-F829-4687-839B-27AB9AA0D7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latin typeface="+mn-lt"/>
              </a:rPr>
              <a:t>Spring Testing: Overview 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E8A44C9-E539-4702-BA46-5081B4514485}"/>
              </a:ext>
            </a:extLst>
          </p:cNvPr>
          <p:cNvGrpSpPr/>
          <p:nvPr/>
        </p:nvGrpSpPr>
        <p:grpSpPr>
          <a:xfrm>
            <a:off x="0" y="6645562"/>
            <a:ext cx="12192000" cy="212438"/>
            <a:chOff x="0" y="6645562"/>
            <a:chExt cx="12192000" cy="21243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C823691-F289-4990-9AE8-B84C0B7648F9}"/>
                </a:ext>
              </a:extLst>
            </p:cNvPr>
            <p:cNvSpPr/>
            <p:nvPr/>
          </p:nvSpPr>
          <p:spPr>
            <a:xfrm>
              <a:off x="0" y="675178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5E94B2"/>
                </a:gs>
                <a:gs pos="0">
                  <a:srgbClr val="3E6982"/>
                </a:gs>
                <a:gs pos="0">
                  <a:srgbClr val="3E6982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0B1E2BC-D6CA-4598-8614-B7770383576D}"/>
                </a:ext>
              </a:extLst>
            </p:cNvPr>
            <p:cNvSpPr/>
            <p:nvPr/>
          </p:nvSpPr>
          <p:spPr>
            <a:xfrm>
              <a:off x="0" y="6645562"/>
              <a:ext cx="12192000" cy="106218"/>
            </a:xfrm>
            <a:prstGeom prst="rect">
              <a:avLst/>
            </a:prstGeom>
            <a:gradFill>
              <a:gsLst>
                <a:gs pos="100000">
                  <a:srgbClr val="F95B00"/>
                </a:gs>
                <a:gs pos="78000">
                  <a:srgbClr val="DF2E06"/>
                </a:gs>
                <a:gs pos="0">
                  <a:srgbClr val="C4000C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9A30153-010B-AAC7-2B12-04D6A86375B0}"/>
              </a:ext>
            </a:extLst>
          </p:cNvPr>
          <p:cNvSpPr txBox="1"/>
          <p:nvPr/>
        </p:nvSpPr>
        <p:spPr>
          <a:xfrm>
            <a:off x="1125279" y="1674627"/>
            <a:ext cx="9879418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endParaRPr lang="en-US" dirty="0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A9A9EDD-35C2-5B22-1DA6-93EDCBF17089}"/>
              </a:ext>
            </a:extLst>
          </p:cNvPr>
          <p:cNvGraphicFramePr>
            <a:graphicFrameLocks noGrp="1"/>
          </p:cNvGraphicFramePr>
          <p:nvPr/>
        </p:nvGraphicFramePr>
        <p:xfrm>
          <a:off x="4673600" y="2103120"/>
          <a:ext cx="2844800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8700">
                  <a:extLst>
                    <a:ext uri="{9D8B030D-6E8A-4147-A177-3AD203B41FA5}">
                      <a16:colId xmlns:a16="http://schemas.microsoft.com/office/drawing/2014/main" val="1897441279"/>
                    </a:ext>
                  </a:extLst>
                </a:gridCol>
                <a:gridCol w="1816100">
                  <a:extLst>
                    <a:ext uri="{9D8B030D-6E8A-4147-A177-3AD203B41FA5}">
                      <a16:colId xmlns:a16="http://schemas.microsoft.com/office/drawing/2014/main" val="221497218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Da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Exa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329051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7-M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AC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1318397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1-13 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End of Pathways Assess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5084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Week of 24-Apri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End of Course Assessmen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171888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r>
                        <a:rPr lang="en-US">
                          <a:effectLst/>
                        </a:rPr>
                        <a:t>1-12 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/>
                        <a:t>AP Exam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56811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4759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8</TotalTime>
  <Words>1356</Words>
  <Application>Microsoft Office PowerPoint</Application>
  <PresentationFormat>Widescreen</PresentationFormat>
  <Paragraphs>252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Helvetica</vt:lpstr>
      <vt:lpstr>Tenorite</vt:lpstr>
      <vt:lpstr>Times New Roman</vt:lpstr>
      <vt:lpstr>Office Theme</vt:lpstr>
      <vt:lpstr>think-cell Slide</vt:lpstr>
      <vt:lpstr>Q3 Community  Coffee Chat</vt:lpstr>
      <vt:lpstr>Founding Officers</vt:lpstr>
      <vt:lpstr>Cultivate ~ Career Fair</vt:lpstr>
      <vt:lpstr>Teacher Grants </vt:lpstr>
      <vt:lpstr>Teacher Grants</vt:lpstr>
      <vt:lpstr>Large image</vt:lpstr>
      <vt:lpstr>Phoenix Fest</vt:lpstr>
      <vt:lpstr>Thank You</vt:lpstr>
      <vt:lpstr>Spring Testing: Overview </vt:lpstr>
      <vt:lpstr>Spring Testing: ACT Exam </vt:lpstr>
      <vt:lpstr>Spring Testing:  CTAE End of Pathway Exams</vt:lpstr>
      <vt:lpstr>Spring Testing:  CTAE End of Pathway Exams</vt:lpstr>
      <vt:lpstr>Spring Testing: End Of Course Exams</vt:lpstr>
      <vt:lpstr>Spring Testing: AP Exams</vt:lpstr>
      <vt:lpstr>Results from SGC parent survey and focus groups</vt:lpstr>
      <vt:lpstr>Survey/Focus group results:   improved communications from administration</vt:lpstr>
      <vt:lpstr>Survey/Focus group results:  ia’s level of rigor</vt:lpstr>
      <vt:lpstr>Survey/ Focus group results:   virtual classes</vt:lpstr>
      <vt:lpstr>Survey/Focus group results:   expectations for student independenc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nt, Scott</dc:creator>
  <cp:lastModifiedBy>Kent, Scott</cp:lastModifiedBy>
  <cp:revision>1</cp:revision>
  <dcterms:created xsi:type="dcterms:W3CDTF">2023-02-14T18:53:45Z</dcterms:created>
  <dcterms:modified xsi:type="dcterms:W3CDTF">2023-02-15T12:3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e3c538-ec52-435f-ae58-017644bd9513_Enabled">
    <vt:lpwstr>true</vt:lpwstr>
  </property>
  <property fmtid="{D5CDD505-2E9C-101B-9397-08002B2CF9AE}" pid="3" name="MSIP_Label_0ee3c538-ec52-435f-ae58-017644bd9513_SetDate">
    <vt:lpwstr>2023-02-14T18:53:45Z</vt:lpwstr>
  </property>
  <property fmtid="{D5CDD505-2E9C-101B-9397-08002B2CF9AE}" pid="4" name="MSIP_Label_0ee3c538-ec52-435f-ae58-017644bd9513_Method">
    <vt:lpwstr>Standard</vt:lpwstr>
  </property>
  <property fmtid="{D5CDD505-2E9C-101B-9397-08002B2CF9AE}" pid="5" name="MSIP_Label_0ee3c538-ec52-435f-ae58-017644bd9513_Name">
    <vt:lpwstr>0ee3c538-ec52-435f-ae58-017644bd9513</vt:lpwstr>
  </property>
  <property fmtid="{D5CDD505-2E9C-101B-9397-08002B2CF9AE}" pid="6" name="MSIP_Label_0ee3c538-ec52-435f-ae58-017644bd9513_SiteId">
    <vt:lpwstr>0cdcb198-8169-4b70-ba9f-da7e3ba700c2</vt:lpwstr>
  </property>
  <property fmtid="{D5CDD505-2E9C-101B-9397-08002B2CF9AE}" pid="7" name="MSIP_Label_0ee3c538-ec52-435f-ae58-017644bd9513_ActionId">
    <vt:lpwstr>1d1c95dd-46bc-4832-88e7-fc56e3f16ffa</vt:lpwstr>
  </property>
  <property fmtid="{D5CDD505-2E9C-101B-9397-08002B2CF9AE}" pid="8" name="MSIP_Label_0ee3c538-ec52-435f-ae58-017644bd9513_ContentBits">
    <vt:lpwstr>0</vt:lpwstr>
  </property>
</Properties>
</file>